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tags/tag39.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40.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tags/tag41.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tags/tag42.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43.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44.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tags/tag45.xml" ContentType="application/vnd.openxmlformats-officedocument.presentationml.tags+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tags/tag46.xml" ContentType="application/vnd.openxmlformats-officedocument.presentationml.tags+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tags/tag47.xml" ContentType="application/vnd.openxmlformats-officedocument.presentationml.tags+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8.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tags/tag49.xml" ContentType="application/vnd.openxmlformats-officedocument.presentationml.tags+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50.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ags/tag51.xml" ContentType="application/vnd.openxmlformats-officedocument.presentationml.tags+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tags/tag52.xml" ContentType="application/vnd.openxmlformats-officedocument.presentationml.tags+xml"/>
  <Override PartName="/ppt/charts/chart62.xml" ContentType="application/vnd.openxmlformats-officedocument.drawingml.chart+xml"/>
  <Override PartName="/ppt/tags/tag53.xml" ContentType="application/vnd.openxmlformats-officedocument.presentationml.tags+xml"/>
  <Override PartName="/ppt/charts/chart63.xml" ContentType="application/vnd.openxmlformats-officedocument.drawingml.chart+xml"/>
  <Override PartName="/ppt/tags/tag54.xml" ContentType="application/vnd.openxmlformats-officedocument.presentationml.tags+xml"/>
  <Override PartName="/ppt/charts/chart64.xml" ContentType="application/vnd.openxmlformats-officedocument.drawingml.chart+xml"/>
  <Override PartName="/ppt/tags/tag55.xml" ContentType="application/vnd.openxmlformats-officedocument.presentationml.tags+xml"/>
  <Override PartName="/ppt/charts/chart65.xml" ContentType="application/vnd.openxmlformats-officedocument.drawingml.chart+xml"/>
  <Override PartName="/ppt/tags/tag56.xml" ContentType="application/vnd.openxmlformats-officedocument.presentationml.tags+xml"/>
  <Override PartName="/ppt/charts/chart66.xml" ContentType="application/vnd.openxmlformats-officedocument.drawingml.chart+xml"/>
  <Override PartName="/ppt/tags/tag57.xml" ContentType="application/vnd.openxmlformats-officedocument.presentationml.tags+xml"/>
  <Override PartName="/ppt/charts/chart67.xml" ContentType="application/vnd.openxmlformats-officedocument.drawingml.chart+xml"/>
  <Override PartName="/ppt/tags/tag58.xml" ContentType="application/vnd.openxmlformats-officedocument.presentationml.tags+xml"/>
  <Override PartName="/ppt/charts/chart68.xml" ContentType="application/vnd.openxmlformats-officedocument.drawingml.chart+xml"/>
  <Override PartName="/ppt/tags/tag59.xml" ContentType="application/vnd.openxmlformats-officedocument.presentationml.tags+xml"/>
  <Override PartName="/ppt/charts/chart69.xml" ContentType="application/vnd.openxmlformats-officedocument.drawingml.chart+xml"/>
  <Override PartName="/ppt/tags/tag60.xml" ContentType="application/vnd.openxmlformats-officedocument.presentationml.tags+xml"/>
  <Override PartName="/ppt/charts/chart70.xml" ContentType="application/vnd.openxmlformats-officedocument.drawingml.chart+xml"/>
  <Override PartName="/ppt/tags/tag61.xml" ContentType="application/vnd.openxmlformats-officedocument.presentationml.tags+xml"/>
  <Override PartName="/ppt/charts/chart71.xml" ContentType="application/vnd.openxmlformats-officedocument.drawingml.chart+xml"/>
  <Override PartName="/ppt/tags/tag62.xml" ContentType="application/vnd.openxmlformats-officedocument.presentationml.tags+xml"/>
  <Override PartName="/ppt/charts/chart72.xml" ContentType="application/vnd.openxmlformats-officedocument.drawingml.chart+xml"/>
  <Override PartName="/ppt/tags/tag63.xml" ContentType="application/vnd.openxmlformats-officedocument.presentationml.tags+xml"/>
  <Override PartName="/ppt/charts/chart73.xml" ContentType="application/vnd.openxmlformats-officedocument.drawingml.chart+xml"/>
  <Override PartName="/ppt/tags/tag64.xml" ContentType="application/vnd.openxmlformats-officedocument.presentationml.tags+xml"/>
  <Override PartName="/ppt/charts/chart74.xml" ContentType="application/vnd.openxmlformats-officedocument.drawingml.chart+xml"/>
  <Override PartName="/ppt/tags/tag65.xml" ContentType="application/vnd.openxmlformats-officedocument.presentationml.tags+xml"/>
  <Override PartName="/ppt/charts/chart75.xml" ContentType="application/vnd.openxmlformats-officedocument.drawingml.chart+xml"/>
  <Override PartName="/ppt/tags/tag66.xml" ContentType="application/vnd.openxmlformats-officedocument.presentationml.tags+xml"/>
  <Override PartName="/ppt/charts/chart76.xml" ContentType="application/vnd.openxmlformats-officedocument.drawingml.chart+xml"/>
  <Override PartName="/ppt/tags/tag67.xml" ContentType="application/vnd.openxmlformats-officedocument.presentationml.tags+xml"/>
  <Override PartName="/ppt/charts/chart77.xml" ContentType="application/vnd.openxmlformats-officedocument.drawingml.chart+xml"/>
  <Override PartName="/ppt/tags/tag68.xml" ContentType="application/vnd.openxmlformats-officedocument.presentationml.tags+xml"/>
  <Override PartName="/ppt/charts/chart78.xml" ContentType="application/vnd.openxmlformats-officedocument.drawingml.chart+xml"/>
  <Override PartName="/ppt/tags/tag69.xml" ContentType="application/vnd.openxmlformats-officedocument.presentationml.tags+xml"/>
  <Override PartName="/ppt/charts/chart79.xml" ContentType="application/vnd.openxmlformats-officedocument.drawingml.chart+xml"/>
  <Override PartName="/ppt/tags/tag70.xml" ContentType="application/vnd.openxmlformats-officedocument.presentationml.tags+xml"/>
  <Override PartName="/ppt/charts/chart80.xml" ContentType="application/vnd.openxmlformats-officedocument.drawingml.chart+xml"/>
  <Override PartName="/ppt/tags/tag71.xml" ContentType="application/vnd.openxmlformats-officedocument.presentationml.tags+xml"/>
  <Override PartName="/ppt/charts/chart81.xml" ContentType="application/vnd.openxmlformats-officedocument.drawingml.chart+xml"/>
  <Override PartName="/ppt/tags/tag72.xml" ContentType="application/vnd.openxmlformats-officedocument.presentationml.tags+xml"/>
  <Override PartName="/ppt/charts/chart82.xml" ContentType="application/vnd.openxmlformats-officedocument.drawingml.chart+xml"/>
  <Override PartName="/ppt/tags/tag73.xml" ContentType="application/vnd.openxmlformats-officedocument.presentationml.tags+xml"/>
  <Override PartName="/ppt/charts/chart83.xml" ContentType="application/vnd.openxmlformats-officedocument.drawingml.chart+xml"/>
  <Override PartName="/ppt/tags/tag74.xml" ContentType="application/vnd.openxmlformats-officedocument.presentationml.tags+xml"/>
  <Override PartName="/ppt/charts/chart84.xml" ContentType="application/vnd.openxmlformats-officedocument.drawingml.chart+xml"/>
  <Override PartName="/ppt/tags/tag75.xml" ContentType="application/vnd.openxmlformats-officedocument.presentationml.tags+xml"/>
  <Override PartName="/ppt/charts/chart85.xml" ContentType="application/vnd.openxmlformats-officedocument.drawingml.chart+xml"/>
  <Override PartName="/ppt/tags/tag76.xml" ContentType="application/vnd.openxmlformats-officedocument.presentationml.tags+xml"/>
  <Override PartName="/ppt/charts/chart86.xml" ContentType="application/vnd.openxmlformats-officedocument.drawingml.chart+xml"/>
  <Override PartName="/ppt/tags/tag77.xml" ContentType="application/vnd.openxmlformats-officedocument.presentationml.tags+xml"/>
  <Override PartName="/ppt/charts/chart87.xml" ContentType="application/vnd.openxmlformats-officedocument.drawingml.chart+xml"/>
  <Override PartName="/ppt/tags/tag78.xml" ContentType="application/vnd.openxmlformats-officedocument.presentationml.tags+xml"/>
  <Override PartName="/ppt/charts/chart88.xml" ContentType="application/vnd.openxmlformats-officedocument.drawingml.chart+xml"/>
  <Override PartName="/ppt/tags/tag79.xml" ContentType="application/vnd.openxmlformats-officedocument.presentationml.tags+xml"/>
  <Override PartName="/ppt/charts/chart89.xml" ContentType="application/vnd.openxmlformats-officedocument.drawingml.chart+xml"/>
  <Override PartName="/ppt/tags/tag80.xml" ContentType="application/vnd.openxmlformats-officedocument.presentationml.tags+xml"/>
  <Override PartName="/ppt/charts/chart90.xml" ContentType="application/vnd.openxmlformats-officedocument.drawingml.chart+xml"/>
  <Override PartName="/ppt/tags/tag81.xml" ContentType="application/vnd.openxmlformats-officedocument.presentationml.tags+xml"/>
  <Override PartName="/ppt/charts/chart91.xml" ContentType="application/vnd.openxmlformats-officedocument.drawingml.chart+xml"/>
  <Override PartName="/ppt/tags/tag82.xml" ContentType="application/vnd.openxmlformats-officedocument.presentationml.tags+xml"/>
  <Override PartName="/ppt/charts/chart92.xml" ContentType="application/vnd.openxmlformats-officedocument.drawingml.chart+xml"/>
  <Override PartName="/ppt/tags/tag83.xml" ContentType="application/vnd.openxmlformats-officedocument.presentationml.tags+xml"/>
  <Override PartName="/ppt/charts/chart93.xml" ContentType="application/vnd.openxmlformats-officedocument.drawingml.chart+xml"/>
  <Override PartName="/ppt/tags/tag84.xml" ContentType="application/vnd.openxmlformats-officedocument.presentationml.tags+xml"/>
  <Override PartName="/ppt/charts/chart94.xml" ContentType="application/vnd.openxmlformats-officedocument.drawingml.chart+xml"/>
  <Override PartName="/ppt/tags/tag85.xml" ContentType="application/vnd.openxmlformats-officedocument.presentationml.tags+xml"/>
  <Override PartName="/ppt/charts/chart95.xml" ContentType="application/vnd.openxmlformats-officedocument.drawingml.chart+xml"/>
  <Override PartName="/ppt/tags/tag86.xml" ContentType="application/vnd.openxmlformats-officedocument.presentationml.tags+xml"/>
  <Override PartName="/ppt/charts/chart96.xml" ContentType="application/vnd.openxmlformats-officedocument.drawingml.chart+xml"/>
  <Override PartName="/ppt/tags/tag87.xml" ContentType="application/vnd.openxmlformats-officedocument.presentationml.tags+xml"/>
  <Override PartName="/ppt/charts/chart97.xml" ContentType="application/vnd.openxmlformats-officedocument.drawingml.chart+xml"/>
  <Override PartName="/ppt/tags/tag88.xml" ContentType="application/vnd.openxmlformats-officedocument.presentationml.tags+xml"/>
  <Override PartName="/ppt/charts/chart98.xml" ContentType="application/vnd.openxmlformats-officedocument.drawingml.chart+xml"/>
  <Override PartName="/ppt/tags/tag89.xml" ContentType="application/vnd.openxmlformats-officedocument.presentationml.tags+xml"/>
  <Override PartName="/ppt/charts/chart99.xml" ContentType="application/vnd.openxmlformats-officedocument.drawingml.chart+xml"/>
  <Override PartName="/ppt/tags/tag90.xml" ContentType="application/vnd.openxmlformats-officedocument.presentationml.tags+xml"/>
  <Override PartName="/ppt/charts/chart100.xml" ContentType="application/vnd.openxmlformats-officedocument.drawingml.chart+xml"/>
  <Override PartName="/ppt/tags/tag91.xml" ContentType="application/vnd.openxmlformats-officedocument.presentationml.tags+xml"/>
  <Override PartName="/ppt/charts/chart101.xml" ContentType="application/vnd.openxmlformats-officedocument.drawingml.chart+xml"/>
  <Override PartName="/ppt/tags/tag92.xml" ContentType="application/vnd.openxmlformats-officedocument.presentationml.tags+xml"/>
  <Override PartName="/ppt/charts/chart102.xml" ContentType="application/vnd.openxmlformats-officedocument.drawingml.chart+xml"/>
  <Override PartName="/ppt/tags/tag93.xml" ContentType="application/vnd.openxmlformats-officedocument.presentationml.tags+xml"/>
  <Override PartName="/ppt/charts/chart103.xml" ContentType="application/vnd.openxmlformats-officedocument.drawingml.chart+xml"/>
  <Override PartName="/ppt/tags/tag94.xml" ContentType="application/vnd.openxmlformats-officedocument.presentationml.tags+xml"/>
  <Override PartName="/ppt/charts/chart104.xml" ContentType="application/vnd.openxmlformats-officedocument.drawingml.chart+xml"/>
  <Override PartName="/ppt/tags/tag95.xml" ContentType="application/vnd.openxmlformats-officedocument.presentationml.tags+xml"/>
  <Override PartName="/ppt/charts/chart105.xml" ContentType="application/vnd.openxmlformats-officedocument.drawingml.chart+xml"/>
  <Override PartName="/ppt/tags/tag96.xml" ContentType="application/vnd.openxmlformats-officedocument.presentationml.tags+xml"/>
  <Override PartName="/ppt/charts/chart106.xml" ContentType="application/vnd.openxmlformats-officedocument.drawingml.chart+xml"/>
  <Override PartName="/ppt/tags/tag97.xml" ContentType="application/vnd.openxmlformats-officedocument.presentationml.tags+xml"/>
  <Override PartName="/ppt/charts/chart107.xml" ContentType="application/vnd.openxmlformats-officedocument.drawingml.chart+xml"/>
  <Override PartName="/ppt/tags/tag98.xml" ContentType="application/vnd.openxmlformats-officedocument.presentationml.tags+xml"/>
  <Override PartName="/ppt/charts/chart108.xml" ContentType="application/vnd.openxmlformats-officedocument.drawingml.chart+xml"/>
  <Override PartName="/ppt/tags/tag99.xml" ContentType="application/vnd.openxmlformats-officedocument.presentationml.tags+xml"/>
  <Override PartName="/ppt/charts/chart109.xml" ContentType="application/vnd.openxmlformats-officedocument.drawingml.chart+xml"/>
  <Override PartName="/ppt/tags/tag100.xml" ContentType="application/vnd.openxmlformats-officedocument.presentationml.tags+xml"/>
  <Override PartName="/ppt/charts/chart110.xml" ContentType="application/vnd.openxmlformats-officedocument.drawingml.chart+xml"/>
  <Override PartName="/ppt/tags/tag101.xml" ContentType="application/vnd.openxmlformats-officedocument.presentationml.tags+xml"/>
  <Override PartName="/ppt/charts/chart111.xml" ContentType="application/vnd.openxmlformats-officedocument.drawingml.chart+xml"/>
  <Override PartName="/ppt/tags/tag102.xml" ContentType="application/vnd.openxmlformats-officedocument.presentationml.tags+xml"/>
  <Override PartName="/ppt/charts/chart112.xml" ContentType="application/vnd.openxmlformats-officedocument.drawingml.chart+xml"/>
  <Override PartName="/ppt/tags/tag103.xml" ContentType="application/vnd.openxmlformats-officedocument.presentationml.tags+xml"/>
  <Override PartName="/ppt/charts/chart113.xml" ContentType="application/vnd.openxmlformats-officedocument.drawingml.chart+xml"/>
  <Override PartName="/ppt/tags/tag104.xml" ContentType="application/vnd.openxmlformats-officedocument.presentationml.tags+xml"/>
  <Override PartName="/ppt/charts/chart114.xml" ContentType="application/vnd.openxmlformats-officedocument.drawingml.chart+xml"/>
  <Override PartName="/ppt/tags/tag105.xml" ContentType="application/vnd.openxmlformats-officedocument.presentationml.tags+xml"/>
  <Override PartName="/ppt/charts/chart115.xml" ContentType="application/vnd.openxmlformats-officedocument.drawingml.chart+xml"/>
  <Override PartName="/ppt/tags/tag106.xml" ContentType="application/vnd.openxmlformats-officedocument.presentationml.tags+xml"/>
  <Override PartName="/ppt/charts/chart116.xml" ContentType="application/vnd.openxmlformats-officedocument.drawingml.chart+xml"/>
  <Override PartName="/ppt/tags/tag107.xml" ContentType="application/vnd.openxmlformats-officedocument.presentationml.tags+xml"/>
  <Override PartName="/ppt/charts/chart117.xml" ContentType="application/vnd.openxmlformats-officedocument.drawingml.chart+xml"/>
  <Override PartName="/ppt/tags/tag108.xml" ContentType="application/vnd.openxmlformats-officedocument.presentationml.tags+xml"/>
  <Override PartName="/ppt/charts/chart118.xml" ContentType="application/vnd.openxmlformats-officedocument.drawingml.chart+xml"/>
  <Override PartName="/ppt/tags/tag109.xml" ContentType="application/vnd.openxmlformats-officedocument.presentationml.tags+xml"/>
  <Override PartName="/ppt/charts/chart119.xml" ContentType="application/vnd.openxmlformats-officedocument.drawingml.chart+xml"/>
  <Override PartName="/ppt/tags/tag110.xml" ContentType="application/vnd.openxmlformats-officedocument.presentationml.tags+xml"/>
  <Override PartName="/ppt/charts/chart120.xml" ContentType="application/vnd.openxmlformats-officedocument.drawingml.chart+xml"/>
  <Override PartName="/ppt/tags/tag111.xml" ContentType="application/vnd.openxmlformats-officedocument.presentationml.tags+xml"/>
  <Override PartName="/ppt/charts/chart121.xml" ContentType="application/vnd.openxmlformats-officedocument.drawingml.chart+xml"/>
  <Override PartName="/ppt/tags/tag112.xml" ContentType="application/vnd.openxmlformats-officedocument.presentationml.tags+xml"/>
  <Override PartName="/ppt/charts/chart122.xml" ContentType="application/vnd.openxmlformats-officedocument.drawingml.chart+xml"/>
  <Override PartName="/ppt/tags/tag113.xml" ContentType="application/vnd.openxmlformats-officedocument.presentationml.tags+xml"/>
  <Override PartName="/ppt/charts/chart123.xml" ContentType="application/vnd.openxmlformats-officedocument.drawingml.chart+xml"/>
  <Override PartName="/ppt/tags/tag114.xml" ContentType="application/vnd.openxmlformats-officedocument.presentationml.tags+xml"/>
  <Override PartName="/ppt/charts/chart124.xml" ContentType="application/vnd.openxmlformats-officedocument.drawingml.chart+xml"/>
  <Override PartName="/ppt/tags/tag115.xml" ContentType="application/vnd.openxmlformats-officedocument.presentationml.tags+xml"/>
  <Override PartName="/ppt/charts/chart125.xml" ContentType="application/vnd.openxmlformats-officedocument.drawingml.chart+xml"/>
  <Override PartName="/ppt/tags/tag116.xml" ContentType="application/vnd.openxmlformats-officedocument.presentationml.tags+xml"/>
  <Override PartName="/ppt/charts/chart126.xml" ContentType="application/vnd.openxmlformats-officedocument.drawingml.chart+xml"/>
  <Override PartName="/ppt/tags/tag117.xml" ContentType="application/vnd.openxmlformats-officedocument.presentationml.tags+xml"/>
  <Override PartName="/ppt/charts/chart127.xml" ContentType="application/vnd.openxmlformats-officedocument.drawingml.chart+xml"/>
  <Override PartName="/ppt/tags/tag118.xml" ContentType="application/vnd.openxmlformats-officedocument.presentationml.tags+xml"/>
  <Override PartName="/ppt/charts/chart128.xml" ContentType="application/vnd.openxmlformats-officedocument.drawingml.chart+xml"/>
  <Override PartName="/ppt/tags/tag119.xml" ContentType="application/vnd.openxmlformats-officedocument.presentationml.tags+xml"/>
  <Override PartName="/ppt/charts/chart129.xml" ContentType="application/vnd.openxmlformats-officedocument.drawingml.chart+xml"/>
  <Override PartName="/ppt/tags/tag120.xml" ContentType="application/vnd.openxmlformats-officedocument.presentationml.tags+xml"/>
  <Override PartName="/ppt/charts/chart130.xml" ContentType="application/vnd.openxmlformats-officedocument.drawingml.chart+xml"/>
  <Override PartName="/ppt/tags/tag121.xml" ContentType="application/vnd.openxmlformats-officedocument.presentationml.tags+xml"/>
  <Override PartName="/ppt/charts/chart131.xml" ContentType="application/vnd.openxmlformats-officedocument.drawingml.chart+xml"/>
  <Override PartName="/ppt/tags/tag122.xml" ContentType="application/vnd.openxmlformats-officedocument.presentationml.tags+xml"/>
  <Override PartName="/ppt/charts/chart132.xml" ContentType="application/vnd.openxmlformats-officedocument.drawingml.chart+xml"/>
  <Override PartName="/ppt/tags/tag123.xml" ContentType="application/vnd.openxmlformats-officedocument.presentationml.tags+xml"/>
  <Override PartName="/ppt/charts/chart133.xml" ContentType="application/vnd.openxmlformats-officedocument.drawingml.chart+xml"/>
  <Override PartName="/ppt/tags/tag124.xml" ContentType="application/vnd.openxmlformats-officedocument.presentationml.tags+xml"/>
  <Override PartName="/ppt/charts/chart134.xml" ContentType="application/vnd.openxmlformats-officedocument.drawingml.chart+xml"/>
  <Override PartName="/ppt/tags/tag125.xml" ContentType="application/vnd.openxmlformats-officedocument.presentationml.tags+xml"/>
  <Override PartName="/ppt/charts/chart135.xml" ContentType="application/vnd.openxmlformats-officedocument.drawingml.chart+xml"/>
  <Override PartName="/ppt/tags/tag126.xml" ContentType="application/vnd.openxmlformats-officedocument.presentationml.tags+xml"/>
  <Override PartName="/ppt/charts/chart136.xml" ContentType="application/vnd.openxmlformats-officedocument.drawingml.chart+xml"/>
  <Override PartName="/ppt/tags/tag127.xml" ContentType="application/vnd.openxmlformats-officedocument.presentationml.tags+xml"/>
  <Override PartName="/ppt/charts/chart137.xml" ContentType="application/vnd.openxmlformats-officedocument.drawingml.chart+xml"/>
  <Override PartName="/ppt/tags/tag128.xml" ContentType="application/vnd.openxmlformats-officedocument.presentationml.tags+xml"/>
  <Override PartName="/ppt/charts/chart138.xml" ContentType="application/vnd.openxmlformats-officedocument.drawingml.chart+xml"/>
  <Override PartName="/ppt/tags/tag129.xml" ContentType="application/vnd.openxmlformats-officedocument.presentationml.tags+xml"/>
  <Override PartName="/ppt/charts/chart139.xml" ContentType="application/vnd.openxmlformats-officedocument.drawingml.chart+xml"/>
  <Override PartName="/ppt/tags/tag130.xml" ContentType="application/vnd.openxmlformats-officedocument.presentationml.tags+xml"/>
  <Override PartName="/ppt/charts/chart140.xml" ContentType="application/vnd.openxmlformats-officedocument.drawingml.chart+xml"/>
  <Override PartName="/ppt/tags/tag131.xml" ContentType="application/vnd.openxmlformats-officedocument.presentationml.tags+xml"/>
  <Override PartName="/ppt/charts/chart141.xml" ContentType="application/vnd.openxmlformats-officedocument.drawingml.chart+xml"/>
  <Override PartName="/ppt/tags/tag132.xml" ContentType="application/vnd.openxmlformats-officedocument.presentationml.tags+xml"/>
  <Override PartName="/ppt/charts/chart142.xml" ContentType="application/vnd.openxmlformats-officedocument.drawingml.chart+xml"/>
  <Override PartName="/ppt/tags/tag133.xml" ContentType="application/vnd.openxmlformats-officedocument.presentationml.tags+xml"/>
  <Override PartName="/ppt/charts/chart143.xml" ContentType="application/vnd.openxmlformats-officedocument.drawingml.chart+xml"/>
  <Override PartName="/ppt/tags/tag134.xml" ContentType="application/vnd.openxmlformats-officedocument.presentationml.tags+xml"/>
  <Override PartName="/ppt/charts/chart144.xml" ContentType="application/vnd.openxmlformats-officedocument.drawingml.chart+xml"/>
  <Override PartName="/ppt/tags/tag135.xml" ContentType="application/vnd.openxmlformats-officedocument.presentationml.tags+xml"/>
  <Override PartName="/ppt/charts/chart145.xml" ContentType="application/vnd.openxmlformats-officedocument.drawingml.chart+xml"/>
  <Override PartName="/ppt/tags/tag136.xml" ContentType="application/vnd.openxmlformats-officedocument.presentationml.tags+xml"/>
  <Override PartName="/ppt/charts/chart146.xml" ContentType="application/vnd.openxmlformats-officedocument.drawingml.chart+xml"/>
  <Override PartName="/ppt/tags/tag137.xml" ContentType="application/vnd.openxmlformats-officedocument.presentationml.tags+xml"/>
  <Override PartName="/ppt/charts/chart147.xml" ContentType="application/vnd.openxmlformats-officedocument.drawingml.chart+xml"/>
  <Override PartName="/ppt/tags/tag138.xml" ContentType="application/vnd.openxmlformats-officedocument.presentationml.tags+xml"/>
  <Override PartName="/ppt/charts/chart148.xml" ContentType="application/vnd.openxmlformats-officedocument.drawingml.chart+xml"/>
  <Override PartName="/ppt/tags/tag139.xml" ContentType="application/vnd.openxmlformats-officedocument.presentationml.tags+xml"/>
  <Override PartName="/ppt/charts/chart149.xml" ContentType="application/vnd.openxmlformats-officedocument.drawingml.chart+xml"/>
  <Override PartName="/ppt/tags/tag140.xml" ContentType="application/vnd.openxmlformats-officedocument.presentationml.tags+xml"/>
  <Override PartName="/ppt/charts/chart150.xml" ContentType="application/vnd.openxmlformats-officedocument.drawingml.chart+xml"/>
  <Override PartName="/ppt/tags/tag141.xml" ContentType="application/vnd.openxmlformats-officedocument.presentationml.tags+xml"/>
  <Override PartName="/ppt/charts/chart151.xml" ContentType="application/vnd.openxmlformats-officedocument.drawingml.chart+xml"/>
  <Override PartName="/ppt/tags/tag142.xml" ContentType="application/vnd.openxmlformats-officedocument.presentationml.tags+xml"/>
  <Override PartName="/ppt/charts/chart152.xml" ContentType="application/vnd.openxmlformats-officedocument.drawingml.chart+xml"/>
  <Override PartName="/ppt/tags/tag143.xml" ContentType="application/vnd.openxmlformats-officedocument.presentationml.tags+xml"/>
  <Override PartName="/ppt/charts/chart153.xml" ContentType="application/vnd.openxmlformats-officedocument.drawingml.chart+xml"/>
  <Override PartName="/ppt/tags/tag144.xml" ContentType="application/vnd.openxmlformats-officedocument.presentationml.tags+xml"/>
  <Override PartName="/ppt/charts/chart154.xml" ContentType="application/vnd.openxmlformats-officedocument.drawingml.chart+xml"/>
  <Override PartName="/ppt/tags/tag145.xml" ContentType="application/vnd.openxmlformats-officedocument.presentationml.tags+xml"/>
  <Override PartName="/ppt/charts/chart155.xml" ContentType="application/vnd.openxmlformats-officedocument.drawingml.chart+xml"/>
  <Override PartName="/ppt/tags/tag146.xml" ContentType="application/vnd.openxmlformats-officedocument.presentationml.tags+xml"/>
  <Override PartName="/ppt/charts/chart156.xml" ContentType="application/vnd.openxmlformats-officedocument.drawingml.chart+xml"/>
  <Override PartName="/ppt/tags/tag147.xml" ContentType="application/vnd.openxmlformats-officedocument.presentationml.tags+xml"/>
  <Override PartName="/ppt/charts/chart157.xml" ContentType="application/vnd.openxmlformats-officedocument.drawingml.chart+xml"/>
  <Override PartName="/ppt/tags/tag148.xml" ContentType="application/vnd.openxmlformats-officedocument.presentationml.tags+xml"/>
  <Override PartName="/ppt/charts/chart158.xml" ContentType="application/vnd.openxmlformats-officedocument.drawingml.chart+xml"/>
  <Override PartName="/ppt/tags/tag149.xml" ContentType="application/vnd.openxmlformats-officedocument.presentationml.tags+xml"/>
  <Override PartName="/ppt/charts/chart159.xml" ContentType="application/vnd.openxmlformats-officedocument.drawingml.chart+xml"/>
  <Override PartName="/ppt/tags/tag150.xml" ContentType="application/vnd.openxmlformats-officedocument.presentationml.tags+xml"/>
  <Override PartName="/ppt/charts/chart160.xml" ContentType="application/vnd.openxmlformats-officedocument.drawingml.chart+xml"/>
  <Override PartName="/ppt/tags/tag151.xml" ContentType="application/vnd.openxmlformats-officedocument.presentationml.tags+xml"/>
  <Override PartName="/ppt/charts/chart161.xml" ContentType="application/vnd.openxmlformats-officedocument.drawingml.chart+xml"/>
  <Override PartName="/ppt/tags/tag152.xml" ContentType="application/vnd.openxmlformats-officedocument.presentationml.tags+xml"/>
  <Override PartName="/ppt/charts/chart162.xml" ContentType="application/vnd.openxmlformats-officedocument.drawingml.chart+xml"/>
  <Override PartName="/ppt/tags/tag153.xml" ContentType="application/vnd.openxmlformats-officedocument.presentationml.tags+xml"/>
  <Override PartName="/ppt/charts/chart163.xml" ContentType="application/vnd.openxmlformats-officedocument.drawingml.chart+xml"/>
  <Override PartName="/ppt/tags/tag154.xml" ContentType="application/vnd.openxmlformats-officedocument.presentationml.tags+xml"/>
  <Override PartName="/ppt/charts/chart164.xml" ContentType="application/vnd.openxmlformats-officedocument.drawingml.chart+xml"/>
  <Override PartName="/ppt/tags/tag155.xml" ContentType="application/vnd.openxmlformats-officedocument.presentationml.tags+xml"/>
  <Override PartName="/ppt/charts/chart165.xml" ContentType="application/vnd.openxmlformats-officedocument.drawingml.chart+xml"/>
  <Override PartName="/ppt/tags/tag156.xml" ContentType="application/vnd.openxmlformats-officedocument.presentationml.tags+xml"/>
  <Override PartName="/ppt/charts/chart166.xml" ContentType="application/vnd.openxmlformats-officedocument.drawingml.chart+xml"/>
  <Override PartName="/ppt/tags/tag157.xml" ContentType="application/vnd.openxmlformats-officedocument.presentationml.tags+xml"/>
  <Override PartName="/ppt/charts/chart167.xml" ContentType="application/vnd.openxmlformats-officedocument.drawingml.chart+xml"/>
  <Override PartName="/ppt/tags/tag158.xml" ContentType="application/vnd.openxmlformats-officedocument.presentationml.tags+xml"/>
  <Override PartName="/ppt/charts/chart168.xml" ContentType="application/vnd.openxmlformats-officedocument.drawingml.chart+xml"/>
  <Override PartName="/ppt/tags/tag159.xml" ContentType="application/vnd.openxmlformats-officedocument.presentationml.tags+xml"/>
  <Override PartName="/ppt/charts/chart169.xml" ContentType="application/vnd.openxmlformats-officedocument.drawingml.chart+xml"/>
  <Override PartName="/ppt/tags/tag160.xml" ContentType="application/vnd.openxmlformats-officedocument.presentationml.tags+xml"/>
  <Override PartName="/ppt/charts/chart170.xml" ContentType="application/vnd.openxmlformats-officedocument.drawingml.chart+xml"/>
  <Override PartName="/ppt/tags/tag161.xml" ContentType="application/vnd.openxmlformats-officedocument.presentationml.tags+xml"/>
  <Override PartName="/ppt/charts/chart171.xml" ContentType="application/vnd.openxmlformats-officedocument.drawingml.chart+xml"/>
  <Override PartName="/ppt/tags/tag162.xml" ContentType="application/vnd.openxmlformats-officedocument.presentationml.tags+xml"/>
  <Override PartName="/ppt/charts/chart172.xml" ContentType="application/vnd.openxmlformats-officedocument.drawingml.chart+xml"/>
  <Override PartName="/ppt/tags/tag163.xml" ContentType="application/vnd.openxmlformats-officedocument.presentationml.tags+xml"/>
  <Override PartName="/ppt/charts/chart173.xml" ContentType="application/vnd.openxmlformats-officedocument.drawingml.chart+xml"/>
  <Override PartName="/ppt/tags/tag164.xml" ContentType="application/vnd.openxmlformats-officedocument.presentationml.tags+xml"/>
  <Override PartName="/ppt/charts/chart174.xml" ContentType="application/vnd.openxmlformats-officedocument.drawingml.chart+xml"/>
  <Override PartName="/ppt/tags/tag165.xml" ContentType="application/vnd.openxmlformats-officedocument.presentationml.tags+xml"/>
  <Override PartName="/ppt/charts/chart175.xml" ContentType="application/vnd.openxmlformats-officedocument.drawingml.chart+xml"/>
  <Override PartName="/ppt/tags/tag166.xml" ContentType="application/vnd.openxmlformats-officedocument.presentationml.tags+xml"/>
  <Override PartName="/ppt/charts/chart176.xml" ContentType="application/vnd.openxmlformats-officedocument.drawingml.chart+xml"/>
  <Override PartName="/ppt/tags/tag167.xml" ContentType="application/vnd.openxmlformats-officedocument.presentationml.tags+xml"/>
  <Override PartName="/ppt/charts/chart177.xml" ContentType="application/vnd.openxmlformats-officedocument.drawingml.chart+xml"/>
  <Override PartName="/ppt/tags/tag168.xml" ContentType="application/vnd.openxmlformats-officedocument.presentationml.tags+xml"/>
  <Override PartName="/ppt/charts/chart178.xml" ContentType="application/vnd.openxmlformats-officedocument.drawingml.chart+xml"/>
  <Override PartName="/ppt/tags/tag169.xml" ContentType="application/vnd.openxmlformats-officedocument.presentationml.tags+xml"/>
  <Override PartName="/ppt/charts/chart179.xml" ContentType="application/vnd.openxmlformats-officedocument.drawingml.chart+xml"/>
  <Override PartName="/ppt/tags/tag170.xml" ContentType="application/vnd.openxmlformats-officedocument.presentationml.tags+xml"/>
  <Override PartName="/ppt/charts/chart180.xml" ContentType="application/vnd.openxmlformats-officedocument.drawingml.chart+xml"/>
  <Override PartName="/ppt/tags/tag171.xml" ContentType="application/vnd.openxmlformats-officedocument.presentationml.tags+xml"/>
  <Override PartName="/ppt/charts/chart181.xml" ContentType="application/vnd.openxmlformats-officedocument.drawingml.chart+xml"/>
  <Override PartName="/ppt/tags/tag172.xml" ContentType="application/vnd.openxmlformats-officedocument.presentationml.tags+xml"/>
  <Override PartName="/ppt/charts/chart182.xml" ContentType="application/vnd.openxmlformats-officedocument.drawingml.chart+xml"/>
  <Override PartName="/ppt/tags/tag173.xml" ContentType="application/vnd.openxmlformats-officedocument.presentationml.tags+xml"/>
  <Override PartName="/ppt/charts/chart183.xml" ContentType="application/vnd.openxmlformats-officedocument.drawingml.chart+xml"/>
  <Override PartName="/ppt/tags/tag174.xml" ContentType="application/vnd.openxmlformats-officedocument.presentationml.tags+xml"/>
  <Override PartName="/ppt/notesSlides/notesSlide1.xml" ContentType="application/vnd.openxmlformats-officedocument.presentationml.notesSlide+xml"/>
  <Override PartName="/ppt/tags/tag175.xml" ContentType="application/vnd.openxmlformats-officedocument.presentationml.tags+xml"/>
  <Override PartName="/ppt/notesSlides/notesSlide2.xml" ContentType="application/vnd.openxmlformats-officedocument.presentationml.notesSlide+xml"/>
  <Override PartName="/ppt/tags/tag176.xml" ContentType="application/vnd.openxmlformats-officedocument.presentationml.tags+xml"/>
  <Override PartName="/ppt/notesSlides/notesSlide3.xml" ContentType="application/vnd.openxmlformats-officedocument.presentationml.notesSlide+xml"/>
  <Override PartName="/ppt/tags/tag177.xml" ContentType="application/vnd.openxmlformats-officedocument.presentationml.tags+xml"/>
  <Override PartName="/ppt/notesSlides/notesSlide4.xml" ContentType="application/vnd.openxmlformats-officedocument.presentationml.notesSlide+xml"/>
  <Override PartName="/ppt/tags/tag178.xml" ContentType="application/vnd.openxmlformats-officedocument.presentationml.tags+xml"/>
  <Override PartName="/ppt/notesSlides/notesSlide5.xml" ContentType="application/vnd.openxmlformats-officedocument.presentationml.notesSlide+xml"/>
  <Override PartName="/ppt/tags/tag179.xml" ContentType="application/vnd.openxmlformats-officedocument.presentationml.tags+xml"/>
  <Override PartName="/ppt/notesSlides/notesSlide6.xml" ContentType="application/vnd.openxmlformats-officedocument.presentationml.notesSlide+xml"/>
  <Override PartName="/ppt/tags/tag180.xml" ContentType="application/vnd.openxmlformats-officedocument.presentationml.tags+xml"/>
  <Override PartName="/ppt/notesSlides/notesSlide7.xml" ContentType="application/vnd.openxmlformats-officedocument.presentationml.notesSlide+xml"/>
  <Override PartName="/ppt/tags/tag181.xml" ContentType="application/vnd.openxmlformats-officedocument.presentationml.tags+xml"/>
  <Override PartName="/ppt/notesSlides/notesSlide8.xml" ContentType="application/vnd.openxmlformats-officedocument.presentationml.notesSlide+xml"/>
  <Override PartName="/ppt/tags/tag182.xml" ContentType="application/vnd.openxmlformats-officedocument.presentationml.tags+xml"/>
  <Override PartName="/ppt/notesSlides/notesSlide9.xml" ContentType="application/vnd.openxmlformats-officedocument.presentationml.notesSlide+xml"/>
  <Override PartName="/ppt/tags/tag183.xml" ContentType="application/vnd.openxmlformats-officedocument.presentationml.tags+xml"/>
  <Override PartName="/ppt/notesSlides/notesSlide10.xml" ContentType="application/vnd.openxmlformats-officedocument.presentationml.notesSlide+xml"/>
  <Override PartName="/ppt/tags/tag184.xml" ContentType="application/vnd.openxmlformats-officedocument.presentationml.tags+xml"/>
  <Override PartName="/ppt/notesSlides/notesSlide11.xml" ContentType="application/vnd.openxmlformats-officedocument.presentationml.notesSlide+xml"/>
  <Override PartName="/ppt/tags/tag185.xml" ContentType="application/vnd.openxmlformats-officedocument.presentationml.tags+xml"/>
  <Override PartName="/ppt/notesSlides/notesSlide12.xml" ContentType="application/vnd.openxmlformats-officedocument.presentationml.notesSlide+xml"/>
  <Override PartName="/ppt/tags/tag186.xml" ContentType="application/vnd.openxmlformats-officedocument.presentationml.tags+xml"/>
  <Override PartName="/ppt/notesSlides/notesSlide13.xml" ContentType="application/vnd.openxmlformats-officedocument.presentationml.notesSlide+xml"/>
  <Override PartName="/ppt/tags/tag187.xml" ContentType="application/vnd.openxmlformats-officedocument.presentationml.tags+xml"/>
  <Override PartName="/ppt/notesSlides/notesSlide14.xml" ContentType="application/vnd.openxmlformats-officedocument.presentationml.notesSlide+xml"/>
  <Override PartName="/ppt/tags/tag188.xml" ContentType="application/vnd.openxmlformats-officedocument.presentationml.tags+xml"/>
  <Override PartName="/ppt/notesSlides/notesSlide15.xml" ContentType="application/vnd.openxmlformats-officedocument.presentationml.notesSlide+xml"/>
  <Override PartName="/ppt/tags/tag189.xml" ContentType="application/vnd.openxmlformats-officedocument.presentationml.tags+xml"/>
  <Override PartName="/ppt/notesSlides/notesSlide16.xml" ContentType="application/vnd.openxmlformats-officedocument.presentationml.notesSlide+xml"/>
  <Override PartName="/ppt/tags/tag190.xml" ContentType="application/vnd.openxmlformats-officedocument.presentationml.tags+xml"/>
  <Override PartName="/ppt/notesSlides/notesSlide17.xml" ContentType="application/vnd.openxmlformats-officedocument.presentationml.notesSlide+xml"/>
  <Override PartName="/ppt/tags/tag191.xml" ContentType="application/vnd.openxmlformats-officedocument.presentationml.tags+xml"/>
  <Override PartName="/ppt/notesSlides/notesSlide18.xml" ContentType="application/vnd.openxmlformats-officedocument.presentationml.notesSlide+xml"/>
  <Override PartName="/ppt/tags/tag192.xml" ContentType="application/vnd.openxmlformats-officedocument.presentationml.tags+xml"/>
  <Override PartName="/ppt/notesSlides/notesSlide19.xml" ContentType="application/vnd.openxmlformats-officedocument.presentationml.notesSlide+xml"/>
  <Override PartName="/ppt/tags/tag193.xml" ContentType="application/vnd.openxmlformats-officedocument.presentationml.tags+xml"/>
  <Override PartName="/ppt/notesSlides/notesSlide20.xml" ContentType="application/vnd.openxmlformats-officedocument.presentationml.notesSlide+xml"/>
  <Override PartName="/ppt/tags/tag194.xml" ContentType="application/vnd.openxmlformats-officedocument.presentationml.tags+xml"/>
  <Override PartName="/ppt/notesSlides/notesSlide21.xml" ContentType="application/vnd.openxmlformats-officedocument.presentationml.notesSlide+xml"/>
  <Override PartName="/ppt/tags/tag195.xml" ContentType="application/vnd.openxmlformats-officedocument.presentationml.tags+xml"/>
  <Override PartName="/ppt/notesSlides/notesSlide22.xml" ContentType="application/vnd.openxmlformats-officedocument.presentationml.notesSlide+xml"/>
  <Override PartName="/ppt/tags/tag196.xml" ContentType="application/vnd.openxmlformats-officedocument.presentationml.tags+xml"/>
  <Override PartName="/ppt/notesSlides/notesSlide23.xml" ContentType="application/vnd.openxmlformats-officedocument.presentationml.notesSlide+xml"/>
  <Override PartName="/ppt/tags/tag197.xml" ContentType="application/vnd.openxmlformats-officedocument.presentationml.tags+xml"/>
  <Override PartName="/ppt/notesSlides/notesSlide24.xml" ContentType="application/vnd.openxmlformats-officedocument.presentationml.notesSlide+xml"/>
  <Override PartName="/ppt/tags/tag198.xml" ContentType="application/vnd.openxmlformats-officedocument.presentationml.tags+xml"/>
  <Override PartName="/ppt/notesSlides/notesSlide25.xml" ContentType="application/vnd.openxmlformats-officedocument.presentationml.notesSlide+xml"/>
  <Override PartName="/ppt/tags/tag199.xml" ContentType="application/vnd.openxmlformats-officedocument.presentationml.tags+xml"/>
  <Override PartName="/ppt/notesSlides/notesSlide26.xml" ContentType="application/vnd.openxmlformats-officedocument.presentationml.notesSlide+xml"/>
  <Override PartName="/ppt/tags/tag200.xml" ContentType="application/vnd.openxmlformats-officedocument.presentationml.tags+xml"/>
  <Override PartName="/ppt/notesSlides/notesSlide27.xml" ContentType="application/vnd.openxmlformats-officedocument.presentationml.notesSlide+xml"/>
  <Override PartName="/ppt/tags/tag201.xml" ContentType="application/vnd.openxmlformats-officedocument.presentationml.tags+xml"/>
  <Override PartName="/ppt/notesSlides/notesSlide28.xml" ContentType="application/vnd.openxmlformats-officedocument.presentationml.notesSlide+xml"/>
  <Override PartName="/ppt/tags/tag202.xml" ContentType="application/vnd.openxmlformats-officedocument.presentationml.tags+xml"/>
  <Override PartName="/ppt/notesSlides/notesSlide29.xml" ContentType="application/vnd.openxmlformats-officedocument.presentationml.notesSlide+xml"/>
  <Override PartName="/ppt/charts/chart184.xml" ContentType="application/vnd.openxmlformats-officedocument.drawingml.chart+xml"/>
  <Override PartName="/ppt/charts/style1.xml" ContentType="application/vnd.ms-office.chartstyle+xml"/>
  <Override PartName="/ppt/charts/colors1.xml" ContentType="application/vnd.ms-office.chartcolorstyle+xml"/>
  <Override PartName="/ppt/tags/tag203.xml" ContentType="application/vnd.openxmlformats-officedocument.presentationml.tags+xml"/>
  <Override PartName="/ppt/notesSlides/notesSlide30.xml" ContentType="application/vnd.openxmlformats-officedocument.presentationml.notesSlide+xml"/>
  <Override PartName="/ppt/charts/chart185.xml" ContentType="application/vnd.openxmlformats-officedocument.drawingml.chart+xml"/>
  <Override PartName="/ppt/charts/style2.xml" ContentType="application/vnd.ms-office.chartstyle+xml"/>
  <Override PartName="/ppt/charts/colors2.xml" ContentType="application/vnd.ms-office.chartcolorstyle+xml"/>
  <Override PartName="/ppt/tags/tag204.xml" ContentType="application/vnd.openxmlformats-officedocument.presentationml.tags+xml"/>
  <Override PartName="/ppt/notesSlides/notesSlide31.xml" ContentType="application/vnd.openxmlformats-officedocument.presentationml.notesSlide+xml"/>
  <Override PartName="/ppt/charts/chart186.xml" ContentType="application/vnd.openxmlformats-officedocument.drawingml.chart+xml"/>
  <Override PartName="/ppt/charts/style3.xml" ContentType="application/vnd.ms-office.chartstyle+xml"/>
  <Override PartName="/ppt/charts/colors3.xml" ContentType="application/vnd.ms-office.chartcolorstyle+xml"/>
  <Override PartName="/ppt/tags/tag205.xml" ContentType="application/vnd.openxmlformats-officedocument.presentationml.tags+xml"/>
  <Override PartName="/ppt/notesSlides/notesSlide32.xml" ContentType="application/vnd.openxmlformats-officedocument.presentationml.notesSlide+xml"/>
  <Override PartName="/ppt/charts/chart187.xml" ContentType="application/vnd.openxmlformats-officedocument.drawingml.chart+xml"/>
  <Override PartName="/ppt/charts/style4.xml" ContentType="application/vnd.ms-office.chartstyle+xml"/>
  <Override PartName="/ppt/charts/colors4.xml" ContentType="application/vnd.ms-office.chartcolorstyle+xml"/>
  <Override PartName="/ppt/tags/tag206.xml" ContentType="application/vnd.openxmlformats-officedocument.presentationml.tags+xml"/>
  <Override PartName="/ppt/notesSlides/notesSlide33.xml" ContentType="application/vnd.openxmlformats-officedocument.presentationml.notesSlide+xml"/>
  <Override PartName="/ppt/charts/chart188.xml" ContentType="application/vnd.openxmlformats-officedocument.drawingml.chart+xml"/>
  <Override PartName="/ppt/charts/style5.xml" ContentType="application/vnd.ms-office.chartstyle+xml"/>
  <Override PartName="/ppt/charts/colors5.xml" ContentType="application/vnd.ms-office.chartcolorstyle+xml"/>
  <Override PartName="/ppt/tags/tag207.xml" ContentType="application/vnd.openxmlformats-officedocument.presentationml.tags+xml"/>
  <Override PartName="/ppt/notesSlides/notesSlide34.xml" ContentType="application/vnd.openxmlformats-officedocument.presentationml.notesSlide+xml"/>
  <Override PartName="/ppt/charts/chart189.xml" ContentType="application/vnd.openxmlformats-officedocument.drawingml.chart+xml"/>
  <Override PartName="/ppt/charts/style6.xml" ContentType="application/vnd.ms-office.chartstyle+xml"/>
  <Override PartName="/ppt/charts/colors6.xml" ContentType="application/vnd.ms-office.chartcolorstyle+xml"/>
  <Override PartName="/ppt/tags/tag208.xml" ContentType="application/vnd.openxmlformats-officedocument.presentationml.tags+xml"/>
  <Override PartName="/ppt/notesSlides/notesSlide35.xml" ContentType="application/vnd.openxmlformats-officedocument.presentationml.notesSlide+xml"/>
  <Override PartName="/ppt/charts/chart190.xml" ContentType="application/vnd.openxmlformats-officedocument.drawingml.chart+xml"/>
  <Override PartName="/ppt/charts/style7.xml" ContentType="application/vnd.ms-office.chartstyle+xml"/>
  <Override PartName="/ppt/charts/colors7.xml" ContentType="application/vnd.ms-office.chartcolorstyle+xml"/>
  <Override PartName="/ppt/tags/tag209.xml" ContentType="application/vnd.openxmlformats-officedocument.presentationml.tags+xml"/>
  <Override PartName="/ppt/notesSlides/notesSlide36.xml" ContentType="application/vnd.openxmlformats-officedocument.presentationml.notesSlide+xml"/>
  <Override PartName="/ppt/charts/chart191.xml" ContentType="application/vnd.openxmlformats-officedocument.drawingml.chart+xml"/>
  <Override PartName="/ppt/charts/style8.xml" ContentType="application/vnd.ms-office.chartstyle+xml"/>
  <Override PartName="/ppt/charts/colors8.xml" ContentType="application/vnd.ms-office.chartcolorstyle+xml"/>
  <Override PartName="/ppt/tags/tag210.xml" ContentType="application/vnd.openxmlformats-officedocument.presentationml.tags+xml"/>
  <Override PartName="/ppt/notesSlides/notesSlide37.xml" ContentType="application/vnd.openxmlformats-officedocument.presentationml.notesSlide+xml"/>
  <Override PartName="/ppt/charts/chart192.xml" ContentType="application/vnd.openxmlformats-officedocument.drawingml.chart+xml"/>
  <Override PartName="/ppt/charts/style9.xml" ContentType="application/vnd.ms-office.chartstyle+xml"/>
  <Override PartName="/ppt/charts/colors9.xml" ContentType="application/vnd.ms-office.chartcolorstyle+xml"/>
  <Override PartName="/ppt/tags/tag211.xml" ContentType="application/vnd.openxmlformats-officedocument.presentationml.tags+xml"/>
  <Override PartName="/ppt/notesSlides/notesSlide38.xml" ContentType="application/vnd.openxmlformats-officedocument.presentationml.notesSlide+xml"/>
  <Override PartName="/ppt/charts/chart193.xml" ContentType="application/vnd.openxmlformats-officedocument.drawingml.chart+xml"/>
  <Override PartName="/ppt/charts/style10.xml" ContentType="application/vnd.ms-office.chartstyle+xml"/>
  <Override PartName="/ppt/charts/colors10.xml" ContentType="application/vnd.ms-office.chartcolorstyle+xml"/>
  <Override PartName="/ppt/tags/tag212.xml" ContentType="application/vnd.openxmlformats-officedocument.presentationml.tags+xml"/>
  <Override PartName="/ppt/notesSlides/notesSlide39.xml" ContentType="application/vnd.openxmlformats-officedocument.presentationml.notesSlide+xml"/>
  <Override PartName="/ppt/charts/chart194.xml" ContentType="application/vnd.openxmlformats-officedocument.drawingml.chart+xml"/>
  <Override PartName="/ppt/charts/style11.xml" ContentType="application/vnd.ms-office.chartstyle+xml"/>
  <Override PartName="/ppt/charts/colors11.xml" ContentType="application/vnd.ms-office.chartcolorstyle+xml"/>
  <Override PartName="/ppt/tags/tag213.xml" ContentType="application/vnd.openxmlformats-officedocument.presentationml.tags+xml"/>
  <Override PartName="/ppt/notesSlides/notesSlide40.xml" ContentType="application/vnd.openxmlformats-officedocument.presentationml.notesSlide+xml"/>
  <Override PartName="/ppt/charts/chart195.xml" ContentType="application/vnd.openxmlformats-officedocument.drawingml.chart+xml"/>
  <Override PartName="/ppt/charts/style12.xml" ContentType="application/vnd.ms-office.chartstyle+xml"/>
  <Override PartName="/ppt/charts/colors12.xml" ContentType="application/vnd.ms-office.chartcolorstyle+xml"/>
  <Override PartName="/ppt/tags/tag214.xml" ContentType="application/vnd.openxmlformats-officedocument.presentationml.tags+xml"/>
  <Override PartName="/ppt/notesSlides/notesSlide41.xml" ContentType="application/vnd.openxmlformats-officedocument.presentationml.notesSlide+xml"/>
  <Override PartName="/ppt/charts/chart196.xml" ContentType="application/vnd.openxmlformats-officedocument.drawingml.chart+xml"/>
  <Override PartName="/ppt/charts/style13.xml" ContentType="application/vnd.ms-office.chartstyle+xml"/>
  <Override PartName="/ppt/charts/colors13.xml" ContentType="application/vnd.ms-office.chartcolorstyle+xml"/>
  <Override PartName="/ppt/tags/tag215.xml" ContentType="application/vnd.openxmlformats-officedocument.presentationml.tags+xml"/>
  <Override PartName="/ppt/notesSlides/notesSlide42.xml" ContentType="application/vnd.openxmlformats-officedocument.presentationml.notesSlide+xml"/>
  <Override PartName="/ppt/charts/chart197.xml" ContentType="application/vnd.openxmlformats-officedocument.drawingml.chart+xml"/>
  <Override PartName="/ppt/charts/style14.xml" ContentType="application/vnd.ms-office.chartstyle+xml"/>
  <Override PartName="/ppt/charts/colors14.xml" ContentType="application/vnd.ms-office.chartcolorstyle+xml"/>
  <Override PartName="/ppt/tags/tag216.xml" ContentType="application/vnd.openxmlformats-officedocument.presentationml.tags+xml"/>
  <Override PartName="/ppt/notesSlides/notesSlide43.xml" ContentType="application/vnd.openxmlformats-officedocument.presentationml.notesSlide+xml"/>
  <Override PartName="/ppt/charts/chart198.xml" ContentType="application/vnd.openxmlformats-officedocument.drawingml.chart+xml"/>
  <Override PartName="/ppt/charts/style15.xml" ContentType="application/vnd.ms-office.chartstyle+xml"/>
  <Override PartName="/ppt/charts/colors15.xml" ContentType="application/vnd.ms-office.chartcolorstyle+xml"/>
  <Override PartName="/ppt/tags/tag217.xml" ContentType="application/vnd.openxmlformats-officedocument.presentationml.tags+xml"/>
  <Override PartName="/ppt/notesSlides/notesSlide44.xml" ContentType="application/vnd.openxmlformats-officedocument.presentationml.notesSlide+xml"/>
  <Override PartName="/ppt/charts/chart199.xml" ContentType="application/vnd.openxmlformats-officedocument.drawingml.chart+xml"/>
  <Override PartName="/ppt/charts/style16.xml" ContentType="application/vnd.ms-office.chartstyle+xml"/>
  <Override PartName="/ppt/charts/colors16.xml" ContentType="application/vnd.ms-office.chartcolorstyle+xml"/>
  <Override PartName="/ppt/tags/tag218.xml" ContentType="application/vnd.openxmlformats-officedocument.presentationml.tags+xml"/>
  <Override PartName="/ppt/notesSlides/notesSlide45.xml" ContentType="application/vnd.openxmlformats-officedocument.presentationml.notesSlide+xml"/>
  <Override PartName="/ppt/charts/chart200.xml" ContentType="application/vnd.openxmlformats-officedocument.drawingml.chart+xml"/>
  <Override PartName="/ppt/charts/style17.xml" ContentType="application/vnd.ms-office.chartstyle+xml"/>
  <Override PartName="/ppt/charts/colors17.xml" ContentType="application/vnd.ms-office.chartcolorstyle+xml"/>
  <Override PartName="/ppt/tags/tag219.xml" ContentType="application/vnd.openxmlformats-officedocument.presentationml.tags+xml"/>
  <Override PartName="/ppt/notesSlides/notesSlide46.xml" ContentType="application/vnd.openxmlformats-officedocument.presentationml.notesSlide+xml"/>
  <Override PartName="/ppt/charts/chart201.xml" ContentType="application/vnd.openxmlformats-officedocument.drawingml.chart+xml"/>
  <Override PartName="/ppt/charts/style18.xml" ContentType="application/vnd.ms-office.chartstyle+xml"/>
  <Override PartName="/ppt/charts/colors18.xml" ContentType="application/vnd.ms-office.chartcolorstyle+xml"/>
  <Override PartName="/ppt/tags/tag220.xml" ContentType="application/vnd.openxmlformats-officedocument.presentationml.tags+xml"/>
  <Override PartName="/ppt/notesSlides/notesSlide47.xml" ContentType="application/vnd.openxmlformats-officedocument.presentationml.notesSlide+xml"/>
  <Override PartName="/ppt/charts/chart202.xml" ContentType="application/vnd.openxmlformats-officedocument.drawingml.chart+xml"/>
  <Override PartName="/ppt/charts/style19.xml" ContentType="application/vnd.ms-office.chartstyle+xml"/>
  <Override PartName="/ppt/charts/colors19.xml" ContentType="application/vnd.ms-office.chartcolorstyle+xml"/>
  <Override PartName="/ppt/tags/tag221.xml" ContentType="application/vnd.openxmlformats-officedocument.presentationml.tags+xml"/>
  <Override PartName="/ppt/notesSlides/notesSlide48.xml" ContentType="application/vnd.openxmlformats-officedocument.presentationml.notesSlide+xml"/>
  <Override PartName="/ppt/charts/chart203.xml" ContentType="application/vnd.openxmlformats-officedocument.drawingml.chart+xml"/>
  <Override PartName="/ppt/charts/style20.xml" ContentType="application/vnd.ms-office.chartstyle+xml"/>
  <Override PartName="/ppt/charts/colors20.xml" ContentType="application/vnd.ms-office.chartcolorstyle+xml"/>
  <Override PartName="/ppt/tags/tag222.xml" ContentType="application/vnd.openxmlformats-officedocument.presentationml.tags+xml"/>
  <Override PartName="/ppt/notesSlides/notesSlide49.xml" ContentType="application/vnd.openxmlformats-officedocument.presentationml.notesSlide+xml"/>
  <Override PartName="/ppt/charts/chart204.xml" ContentType="application/vnd.openxmlformats-officedocument.drawingml.chart+xml"/>
  <Override PartName="/ppt/charts/style21.xml" ContentType="application/vnd.ms-office.chartstyle+xml"/>
  <Override PartName="/ppt/charts/colors21.xml" ContentType="application/vnd.ms-office.chartcolorstyle+xml"/>
  <Override PartName="/ppt/tags/tag223.xml" ContentType="application/vnd.openxmlformats-officedocument.presentationml.tags+xml"/>
  <Override PartName="/ppt/notesSlides/notesSlide50.xml" ContentType="application/vnd.openxmlformats-officedocument.presentationml.notesSlide+xml"/>
  <Override PartName="/ppt/charts/chart205.xml" ContentType="application/vnd.openxmlformats-officedocument.drawingml.chart+xml"/>
  <Override PartName="/ppt/charts/style22.xml" ContentType="application/vnd.ms-office.chartstyle+xml"/>
  <Override PartName="/ppt/charts/colors22.xml" ContentType="application/vnd.ms-office.chartcolorstyle+xml"/>
  <Override PartName="/ppt/tags/tag224.xml" ContentType="application/vnd.openxmlformats-officedocument.presentationml.tags+xml"/>
  <Override PartName="/ppt/notesSlides/notesSlide51.xml" ContentType="application/vnd.openxmlformats-officedocument.presentationml.notesSlide+xml"/>
  <Override PartName="/ppt/charts/chart206.xml" ContentType="application/vnd.openxmlformats-officedocument.drawingml.chart+xml"/>
  <Override PartName="/ppt/charts/style23.xml" ContentType="application/vnd.ms-office.chartstyle+xml"/>
  <Override PartName="/ppt/charts/colors23.xml" ContentType="application/vnd.ms-office.chartcolorstyle+xml"/>
  <Override PartName="/ppt/tags/tag225.xml" ContentType="application/vnd.openxmlformats-officedocument.presentationml.tags+xml"/>
  <Override PartName="/ppt/notesSlides/notesSlide52.xml" ContentType="application/vnd.openxmlformats-officedocument.presentationml.notesSlide+xml"/>
  <Override PartName="/ppt/charts/chart207.xml" ContentType="application/vnd.openxmlformats-officedocument.drawingml.chart+xml"/>
  <Override PartName="/ppt/charts/style24.xml" ContentType="application/vnd.ms-office.chartstyle+xml"/>
  <Override PartName="/ppt/charts/colors24.xml" ContentType="application/vnd.ms-office.chartcolorstyle+xml"/>
  <Override PartName="/ppt/tags/tag226.xml" ContentType="application/vnd.openxmlformats-officedocument.presentationml.tags+xml"/>
  <Override PartName="/ppt/notesSlides/notesSlide53.xml" ContentType="application/vnd.openxmlformats-officedocument.presentationml.notesSlide+xml"/>
  <Override PartName="/ppt/charts/chart208.xml" ContentType="application/vnd.openxmlformats-officedocument.drawingml.chart+xml"/>
  <Override PartName="/ppt/charts/style25.xml" ContentType="application/vnd.ms-office.chartstyle+xml"/>
  <Override PartName="/ppt/charts/colors25.xml" ContentType="application/vnd.ms-office.chartcolorstyle+xml"/>
  <Override PartName="/ppt/tags/tag227.xml" ContentType="application/vnd.openxmlformats-officedocument.presentationml.tags+xml"/>
  <Override PartName="/ppt/notesSlides/notesSlide54.xml" ContentType="application/vnd.openxmlformats-officedocument.presentationml.notesSlide+xml"/>
  <Override PartName="/ppt/charts/chart209.xml" ContentType="application/vnd.openxmlformats-officedocument.drawingml.chart+xml"/>
  <Override PartName="/ppt/charts/style26.xml" ContentType="application/vnd.ms-office.chartstyle+xml"/>
  <Override PartName="/ppt/charts/colors26.xml" ContentType="application/vnd.ms-office.chartcolorstyle+xml"/>
  <Override PartName="/ppt/tags/tag228.xml" ContentType="application/vnd.openxmlformats-officedocument.presentationml.tags+xml"/>
  <Override PartName="/ppt/notesSlides/notesSlide55.xml" ContentType="application/vnd.openxmlformats-officedocument.presentationml.notesSlide+xml"/>
  <Override PartName="/ppt/charts/chart210.xml" ContentType="application/vnd.openxmlformats-officedocument.drawingml.chart+xml"/>
  <Override PartName="/ppt/charts/style27.xml" ContentType="application/vnd.ms-office.chartstyle+xml"/>
  <Override PartName="/ppt/charts/colors27.xml" ContentType="application/vnd.ms-office.chartcolorstyle+xml"/>
  <Override PartName="/ppt/tags/tag229.xml" ContentType="application/vnd.openxmlformats-officedocument.presentationml.tags+xml"/>
  <Override PartName="/ppt/notesSlides/notesSlide56.xml" ContentType="application/vnd.openxmlformats-officedocument.presentationml.notesSlide+xml"/>
  <Override PartName="/ppt/charts/chart211.xml" ContentType="application/vnd.openxmlformats-officedocument.drawingml.chart+xml"/>
  <Override PartName="/ppt/charts/style28.xml" ContentType="application/vnd.ms-office.chartstyle+xml"/>
  <Override PartName="/ppt/charts/colors28.xml" ContentType="application/vnd.ms-office.chartcolorstyle+xml"/>
  <Override PartName="/ppt/tags/tag230.xml" ContentType="application/vnd.openxmlformats-officedocument.presentationml.tags+xml"/>
  <Override PartName="/ppt/notesSlides/notesSlide57.xml" ContentType="application/vnd.openxmlformats-officedocument.presentationml.notesSlide+xml"/>
  <Override PartName="/ppt/charts/chart212.xml" ContentType="application/vnd.openxmlformats-officedocument.drawingml.chart+xml"/>
  <Override PartName="/ppt/charts/style29.xml" ContentType="application/vnd.ms-office.chartstyle+xml"/>
  <Override PartName="/ppt/charts/colors29.xml" ContentType="application/vnd.ms-office.chartcolorstyle+xml"/>
  <Override PartName="/ppt/tags/tag231.xml" ContentType="application/vnd.openxmlformats-officedocument.presentationml.tags+xml"/>
  <Override PartName="/ppt/notesSlides/notesSlide58.xml" ContentType="application/vnd.openxmlformats-officedocument.presentationml.notesSlide+xml"/>
  <Override PartName="/ppt/charts/chart213.xml" ContentType="application/vnd.openxmlformats-officedocument.drawingml.chart+xml"/>
  <Override PartName="/ppt/charts/style30.xml" ContentType="application/vnd.ms-office.chartstyle+xml"/>
  <Override PartName="/ppt/charts/colors30.xml" ContentType="application/vnd.ms-office.chartcolorstyle+xml"/>
  <Override PartName="/ppt/tags/tag232.xml" ContentType="application/vnd.openxmlformats-officedocument.presentationml.tags+xml"/>
  <Override PartName="/ppt/notesSlides/notesSlide59.xml" ContentType="application/vnd.openxmlformats-officedocument.presentationml.notesSlide+xml"/>
  <Override PartName="/ppt/charts/chart214.xml" ContentType="application/vnd.openxmlformats-officedocument.drawingml.chart+xml"/>
  <Override PartName="/ppt/charts/style31.xml" ContentType="application/vnd.ms-office.chartstyle+xml"/>
  <Override PartName="/ppt/charts/colors31.xml" ContentType="application/vnd.ms-office.chartcolorstyle+xml"/>
  <Override PartName="/ppt/tags/tag233.xml" ContentType="application/vnd.openxmlformats-officedocument.presentationml.tags+xml"/>
  <Override PartName="/ppt/notesSlides/notesSlide60.xml" ContentType="application/vnd.openxmlformats-officedocument.presentationml.notesSlide+xml"/>
  <Override PartName="/ppt/charts/chart215.xml" ContentType="application/vnd.openxmlformats-officedocument.drawingml.chart+xml"/>
  <Override PartName="/ppt/charts/style32.xml" ContentType="application/vnd.ms-office.chartstyle+xml"/>
  <Override PartName="/ppt/charts/colors32.xml" ContentType="application/vnd.ms-office.chartcolorstyle+xml"/>
  <Override PartName="/ppt/tags/tag234.xml" ContentType="application/vnd.openxmlformats-officedocument.presentationml.tags+xml"/>
  <Override PartName="/ppt/notesSlides/notesSlide61.xml" ContentType="application/vnd.openxmlformats-officedocument.presentationml.notesSlide+xml"/>
  <Override PartName="/ppt/charts/chart216.xml" ContentType="application/vnd.openxmlformats-officedocument.drawingml.chart+xml"/>
  <Override PartName="/ppt/charts/style33.xml" ContentType="application/vnd.ms-office.chartstyle+xml"/>
  <Override PartName="/ppt/charts/colors33.xml" ContentType="application/vnd.ms-office.chartcolorstyle+xml"/>
  <Override PartName="/ppt/tags/tag235.xml" ContentType="application/vnd.openxmlformats-officedocument.presentationml.tags+xml"/>
  <Override PartName="/ppt/notesSlides/notesSlide62.xml" ContentType="application/vnd.openxmlformats-officedocument.presentationml.notesSlide+xml"/>
  <Override PartName="/ppt/charts/chart217.xml" ContentType="application/vnd.openxmlformats-officedocument.drawingml.chart+xml"/>
  <Override PartName="/ppt/charts/style34.xml" ContentType="application/vnd.ms-office.chartstyle+xml"/>
  <Override PartName="/ppt/charts/colors34.xml" ContentType="application/vnd.ms-office.chartcolorstyle+xml"/>
  <Override PartName="/ppt/tags/tag236.xml" ContentType="application/vnd.openxmlformats-officedocument.presentationml.tags+xml"/>
  <Override PartName="/ppt/notesSlides/notesSlide63.xml" ContentType="application/vnd.openxmlformats-officedocument.presentationml.notesSlide+xml"/>
  <Override PartName="/ppt/charts/chart218.xml" ContentType="application/vnd.openxmlformats-officedocument.drawingml.chart+xml"/>
  <Override PartName="/ppt/charts/style35.xml" ContentType="application/vnd.ms-office.chartstyle+xml"/>
  <Override PartName="/ppt/charts/colors35.xml" ContentType="application/vnd.ms-office.chartcolorstyle+xml"/>
  <Override PartName="/ppt/tags/tag237.xml" ContentType="application/vnd.openxmlformats-officedocument.presentationml.tags+xml"/>
  <Override PartName="/ppt/notesSlides/notesSlide64.xml" ContentType="application/vnd.openxmlformats-officedocument.presentationml.notesSlide+xml"/>
  <Override PartName="/ppt/charts/chart219.xml" ContentType="application/vnd.openxmlformats-officedocument.drawingml.chart+xml"/>
  <Override PartName="/ppt/charts/style36.xml" ContentType="application/vnd.ms-office.chartstyle+xml"/>
  <Override PartName="/ppt/charts/colors36.xml" ContentType="application/vnd.ms-office.chartcolorstyle+xml"/>
  <Override PartName="/ppt/tags/tag238.xml" ContentType="application/vnd.openxmlformats-officedocument.presentationml.tags+xml"/>
  <Override PartName="/ppt/notesSlides/notesSlide65.xml" ContentType="application/vnd.openxmlformats-officedocument.presentationml.notesSlide+xml"/>
  <Override PartName="/ppt/charts/chart220.xml" ContentType="application/vnd.openxmlformats-officedocument.drawingml.chart+xml"/>
  <Override PartName="/ppt/charts/style37.xml" ContentType="application/vnd.ms-office.chartstyle+xml"/>
  <Override PartName="/ppt/charts/colors37.xml" ContentType="application/vnd.ms-office.chartcolorstyle+xml"/>
  <Override PartName="/ppt/tags/tag239.xml" ContentType="application/vnd.openxmlformats-officedocument.presentationml.tags+xml"/>
  <Override PartName="/ppt/notesSlides/notesSlide66.xml" ContentType="application/vnd.openxmlformats-officedocument.presentationml.notesSlide+xml"/>
  <Override PartName="/ppt/charts/chart221.xml" ContentType="application/vnd.openxmlformats-officedocument.drawingml.chart+xml"/>
  <Override PartName="/ppt/charts/style38.xml" ContentType="application/vnd.ms-office.chartstyle+xml"/>
  <Override PartName="/ppt/charts/colors38.xml" ContentType="application/vnd.ms-office.chartcolorstyle+xml"/>
  <Override PartName="/ppt/tags/tag240.xml" ContentType="application/vnd.openxmlformats-officedocument.presentationml.tags+xml"/>
  <Override PartName="/ppt/notesSlides/notesSlide67.xml" ContentType="application/vnd.openxmlformats-officedocument.presentationml.notesSlide+xml"/>
  <Override PartName="/ppt/charts/chart222.xml" ContentType="application/vnd.openxmlformats-officedocument.drawingml.chart+xml"/>
  <Override PartName="/ppt/charts/style39.xml" ContentType="application/vnd.ms-office.chartstyle+xml"/>
  <Override PartName="/ppt/charts/colors39.xml" ContentType="application/vnd.ms-office.chartcolorstyle+xml"/>
  <Override PartName="/ppt/tags/tag241.xml" ContentType="application/vnd.openxmlformats-officedocument.presentationml.tags+xml"/>
  <Override PartName="/ppt/notesSlides/notesSlide68.xml" ContentType="application/vnd.openxmlformats-officedocument.presentationml.notesSlide+xml"/>
  <Override PartName="/ppt/charts/chart223.xml" ContentType="application/vnd.openxmlformats-officedocument.drawingml.chart+xml"/>
  <Override PartName="/ppt/charts/style40.xml" ContentType="application/vnd.ms-office.chartstyle+xml"/>
  <Override PartName="/ppt/charts/colors40.xml" ContentType="application/vnd.ms-office.chartcolorstyle+xml"/>
  <Override PartName="/ppt/tags/tag242.xml" ContentType="application/vnd.openxmlformats-officedocument.presentationml.tags+xml"/>
  <Override PartName="/ppt/notesSlides/notesSlide69.xml" ContentType="application/vnd.openxmlformats-officedocument.presentationml.notesSlide+xml"/>
  <Override PartName="/ppt/charts/chart224.xml" ContentType="application/vnd.openxmlformats-officedocument.drawingml.chart+xml"/>
  <Override PartName="/ppt/charts/style41.xml" ContentType="application/vnd.ms-office.chartstyle+xml"/>
  <Override PartName="/ppt/charts/colors41.xml" ContentType="application/vnd.ms-office.chartcolorstyle+xml"/>
  <Override PartName="/ppt/tags/tag243.xml" ContentType="application/vnd.openxmlformats-officedocument.presentationml.tags+xml"/>
  <Override PartName="/ppt/notesSlides/notesSlide70.xml" ContentType="application/vnd.openxmlformats-officedocument.presentationml.notesSlide+xml"/>
  <Override PartName="/ppt/charts/chart225.xml" ContentType="application/vnd.openxmlformats-officedocument.drawingml.chart+xml"/>
  <Override PartName="/ppt/charts/style42.xml" ContentType="application/vnd.ms-office.chartstyle+xml"/>
  <Override PartName="/ppt/charts/colors42.xml" ContentType="application/vnd.ms-office.chartcolorstyle+xml"/>
  <Override PartName="/ppt/tags/tag244.xml" ContentType="application/vnd.openxmlformats-officedocument.presentationml.tags+xml"/>
  <Override PartName="/ppt/notesSlides/notesSlide71.xml" ContentType="application/vnd.openxmlformats-officedocument.presentationml.notesSlide+xml"/>
  <Override PartName="/ppt/charts/chart226.xml" ContentType="application/vnd.openxmlformats-officedocument.drawingml.chart+xml"/>
  <Override PartName="/ppt/charts/style43.xml" ContentType="application/vnd.ms-office.chartstyle+xml"/>
  <Override PartName="/ppt/charts/colors43.xml" ContentType="application/vnd.ms-office.chartcolorstyle+xml"/>
  <Override PartName="/ppt/tags/tag245.xml" ContentType="application/vnd.openxmlformats-officedocument.presentationml.tags+xml"/>
  <Override PartName="/ppt/notesSlides/notesSlide72.xml" ContentType="application/vnd.openxmlformats-officedocument.presentationml.notesSlide+xml"/>
  <Override PartName="/ppt/charts/chart227.xml" ContentType="application/vnd.openxmlformats-officedocument.drawingml.chart+xml"/>
  <Override PartName="/ppt/charts/style44.xml" ContentType="application/vnd.ms-office.chartstyle+xml"/>
  <Override PartName="/ppt/charts/colors44.xml" ContentType="application/vnd.ms-office.chartcolorstyle+xml"/>
  <Override PartName="/ppt/tags/tag246.xml" ContentType="application/vnd.openxmlformats-officedocument.presentationml.tags+xml"/>
  <Override PartName="/ppt/notesSlides/notesSlide73.xml" ContentType="application/vnd.openxmlformats-officedocument.presentationml.notesSlide+xml"/>
  <Override PartName="/ppt/charts/chart228.xml" ContentType="application/vnd.openxmlformats-officedocument.drawingml.chart+xml"/>
  <Override PartName="/ppt/charts/style45.xml" ContentType="application/vnd.ms-office.chartstyle+xml"/>
  <Override PartName="/ppt/charts/colors45.xml" ContentType="application/vnd.ms-office.chartcolorstyle+xml"/>
  <Override PartName="/ppt/tags/tag247.xml" ContentType="application/vnd.openxmlformats-officedocument.presentationml.tags+xml"/>
  <Override PartName="/ppt/notesSlides/notesSlide74.xml" ContentType="application/vnd.openxmlformats-officedocument.presentationml.notesSlide+xml"/>
  <Override PartName="/ppt/charts/chart229.xml" ContentType="application/vnd.openxmlformats-officedocument.drawingml.chart+xml"/>
  <Override PartName="/ppt/charts/style46.xml" ContentType="application/vnd.ms-office.chartstyle+xml"/>
  <Override PartName="/ppt/charts/colors46.xml" ContentType="application/vnd.ms-office.chartcolorstyle+xml"/>
  <Override PartName="/ppt/tags/tag248.xml" ContentType="application/vnd.openxmlformats-officedocument.presentationml.tags+xml"/>
  <Override PartName="/ppt/notesSlides/notesSlide75.xml" ContentType="application/vnd.openxmlformats-officedocument.presentationml.notesSlide+xml"/>
  <Override PartName="/ppt/charts/chart230.xml" ContentType="application/vnd.openxmlformats-officedocument.drawingml.chart+xml"/>
  <Override PartName="/ppt/charts/style47.xml" ContentType="application/vnd.ms-office.chartstyle+xml"/>
  <Override PartName="/ppt/charts/colors47.xml" ContentType="application/vnd.ms-office.chartcolorstyle+xml"/>
  <Override PartName="/ppt/tags/tag249.xml" ContentType="application/vnd.openxmlformats-officedocument.presentationml.tags+xml"/>
  <Override PartName="/ppt/notesSlides/notesSlide76.xml" ContentType="application/vnd.openxmlformats-officedocument.presentationml.notesSlide+xml"/>
  <Override PartName="/ppt/charts/chart231.xml" ContentType="application/vnd.openxmlformats-officedocument.drawingml.chart+xml"/>
  <Override PartName="/ppt/charts/style48.xml" ContentType="application/vnd.ms-office.chartstyle+xml"/>
  <Override PartName="/ppt/charts/colors48.xml" ContentType="application/vnd.ms-office.chartcolorstyle+xml"/>
  <Override PartName="/ppt/tags/tag250.xml" ContentType="application/vnd.openxmlformats-officedocument.presentationml.tags+xml"/>
  <Override PartName="/ppt/notesSlides/notesSlide77.xml" ContentType="application/vnd.openxmlformats-officedocument.presentationml.notesSlide+xml"/>
  <Override PartName="/ppt/charts/chart232.xml" ContentType="application/vnd.openxmlformats-officedocument.drawingml.chart+xml"/>
  <Override PartName="/ppt/charts/style49.xml" ContentType="application/vnd.ms-office.chartstyle+xml"/>
  <Override PartName="/ppt/charts/colors49.xml" ContentType="application/vnd.ms-office.chartcolorstyle+xml"/>
  <Override PartName="/ppt/tags/tag251.xml" ContentType="application/vnd.openxmlformats-officedocument.presentationml.tags+xml"/>
  <Override PartName="/ppt/notesSlides/notesSlide78.xml" ContentType="application/vnd.openxmlformats-officedocument.presentationml.notesSlide+xml"/>
  <Override PartName="/ppt/charts/chart233.xml" ContentType="application/vnd.openxmlformats-officedocument.drawingml.chart+xml"/>
  <Override PartName="/ppt/charts/style50.xml" ContentType="application/vnd.ms-office.chartstyle+xml"/>
  <Override PartName="/ppt/charts/colors50.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229"/>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 id="2147477521" r:id="rId161"/>
    <p:sldId id="2147477522" r:id="rId162"/>
    <p:sldId id="2147477523" r:id="rId163"/>
    <p:sldId id="2147477524" r:id="rId164"/>
    <p:sldId id="2147477525" r:id="rId165"/>
    <p:sldId id="2147477526" r:id="rId166"/>
    <p:sldId id="2147477527" r:id="rId167"/>
    <p:sldId id="2147477528" r:id="rId168"/>
    <p:sldId id="2147477529" r:id="rId169"/>
    <p:sldId id="2147477530" r:id="rId170"/>
    <p:sldId id="2147477531" r:id="rId171"/>
    <p:sldId id="2147477532" r:id="rId172"/>
    <p:sldId id="2147477533" r:id="rId173"/>
    <p:sldId id="2147477534" r:id="rId174"/>
    <p:sldId id="2147477535" r:id="rId175"/>
    <p:sldId id="2147477536" r:id="rId176"/>
    <p:sldId id="2147477537" r:id="rId177"/>
    <p:sldId id="2147477538" r:id="rId178"/>
    <p:sldId id="2147477539" r:id="rId179"/>
    <p:sldId id="2147477540" r:id="rId180"/>
    <p:sldId id="2147477541" r:id="rId181"/>
    <p:sldId id="2147477542" r:id="rId182"/>
    <p:sldId id="2147477543" r:id="rId183"/>
    <p:sldId id="2147477544" r:id="rId184"/>
    <p:sldId id="2147477545" r:id="rId185"/>
    <p:sldId id="2147477546" r:id="rId186"/>
    <p:sldId id="2147477547" r:id="rId187"/>
    <p:sldId id="2147477548" r:id="rId188"/>
    <p:sldId id="2147477549" r:id="rId189"/>
    <p:sldId id="2147477550" r:id="rId190"/>
    <p:sldId id="2147477551" r:id="rId191"/>
    <p:sldId id="2147477552" r:id="rId192"/>
    <p:sldId id="2147477553" r:id="rId193"/>
    <p:sldId id="2147477554" r:id="rId194"/>
    <p:sldId id="2147477555" r:id="rId195"/>
    <p:sldId id="2147477556" r:id="rId196"/>
    <p:sldId id="2147477557" r:id="rId197"/>
    <p:sldId id="2147477558" r:id="rId198"/>
    <p:sldId id="2147477559" r:id="rId199"/>
    <p:sldId id="2147477560" r:id="rId200"/>
    <p:sldId id="2147477561" r:id="rId201"/>
    <p:sldId id="2147477562" r:id="rId202"/>
    <p:sldId id="2147477563" r:id="rId203"/>
    <p:sldId id="2147477564" r:id="rId204"/>
    <p:sldId id="2147477565" r:id="rId205"/>
    <p:sldId id="2147477566" r:id="rId206"/>
    <p:sldId id="2147477567" r:id="rId207"/>
    <p:sldId id="2147477568" r:id="rId208"/>
    <p:sldId id="2147477569" r:id="rId209"/>
    <p:sldId id="2147477570" r:id="rId210"/>
    <p:sldId id="2147477571" r:id="rId211"/>
    <p:sldId id="2147477572" r:id="rId212"/>
    <p:sldId id="2147477573" r:id="rId213"/>
    <p:sldId id="2147477574" r:id="rId214"/>
    <p:sldId id="2147477575" r:id="rId215"/>
    <p:sldId id="2147477576" r:id="rId216"/>
    <p:sldId id="2147477577" r:id="rId217"/>
    <p:sldId id="2147477578" r:id="rId218"/>
    <p:sldId id="2147477579" r:id="rId219"/>
    <p:sldId id="2147477580" r:id="rId220"/>
    <p:sldId id="2147477581" r:id="rId221"/>
    <p:sldId id="2147477582" r:id="rId222"/>
    <p:sldId id="2147477583" r:id="rId223"/>
    <p:sldId id="2147477584" r:id="rId224"/>
    <p:sldId id="2147477585" r:id="rId225"/>
    <p:sldId id="2147477586" r:id="rId226"/>
    <p:sldId id="2147477587" r:id="rId227"/>
    <p:sldId id="2147477588" r:id="rId22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Summary Category" id="{BE09EB8E-0C32-40FA-93DD-E938291A1E6E}">
          <p14:sldIdLst>
            <p14:sldId id="2147477365"/>
            <p14:sldId id="2147477366"/>
            <p14:sldId id="2147477367"/>
            <p14:sldId id="2147477368"/>
            <p14:sldId id="2147477369"/>
          </p14:sldIdLst>
        </p14:section>
        <p14:section name="Price Positioning Summary Sector" id="{9C0BE859-87C1-41A6-9ADD-AB5F942FCA82}">
          <p14:sldIdLst>
            <p14:sldId id="2147477370"/>
            <p14:sldId id="2147477371"/>
            <p14:sldId id="2147477372"/>
            <p14:sldId id="2147477373"/>
            <p14:sldId id="2147477374"/>
          </p14:sldIdLst>
        </p14:section>
        <p14:section name="Price Positioning Summary Segment" id="{4630AAD6-6B6B-4C9F-8F4F-CE1F49798E59}">
          <p14:sldIdLst>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Lst>
        </p14:section>
        <p14:section name="Price Positioning Analysis By Brands" id="{AA55A98B-D909-4120-8DA6-33CEAEF1DB50}">
          <p14:sldIdLst>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Lst>
        </p14:section>
        <p14:section name="Price Positioning Analysis By Manufacturer" id="{A49EFA84-80DD-4042-84A4-99563CE2B95F}">
          <p14:sldIdLst>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Lst>
        </p14:section>
        <p14:section name="Sectors Share and Growth By Brands" id="{D5A6F5DD-16DA-4592-94DF-7B44C78A4223}">
          <p14:sldIdLst>
            <p14:sldId id="2147477511"/>
            <p14:sldId id="2147477512"/>
            <p14:sldId id="2147477513"/>
            <p14:sldId id="2147477514"/>
            <p14:sldId id="2147477515"/>
          </p14:sldIdLst>
        </p14:section>
        <p14:section name="Segments Share and Growth By Brands" id="{88BA4069-BF97-40D5-B47C-1698C5321F25}">
          <p14:sldIdLst>
            <p14:sldId id="2147477516"/>
            <p14:sldId id="2147477517"/>
            <p14:sldId id="2147477518"/>
            <p14:sldId id="2147477519"/>
            <p14:sldId id="2147477520"/>
            <p14:sldId id="2147477521"/>
            <p14:sldId id="2147477522"/>
            <p14:sldId id="2147477523"/>
            <p14:sldId id="2147477524"/>
          </p14:sldIdLst>
        </p14:section>
        <p14:section name="Sectors Share and Growth By Manufacturer" id="{35619F8B-804F-4986-A29D-D35AC70E7296}">
          <p14:sldIdLst>
            <p14:sldId id="2147477525"/>
            <p14:sldId id="2147477526"/>
            <p14:sldId id="2147477527"/>
            <p14:sldId id="2147477528"/>
            <p14:sldId id="2147477529"/>
          </p14:sldIdLst>
        </p14:section>
        <p14:section name="Segments Share and Growth By Manufacturer" id="{D8DB903C-FC9A-4548-A97A-4ED45ACD6D30}">
          <p14:sldIdLst>
            <p14:sldId id="2147477530"/>
            <p14:sldId id="2147477531"/>
            <p14:sldId id="2147477532"/>
            <p14:sldId id="2147477533"/>
            <p14:sldId id="2147477534"/>
            <p14:sldId id="2147477535"/>
            <p14:sldId id="2147477536"/>
            <p14:sldId id="2147477537"/>
            <p14:sldId id="2147477538"/>
          </p14:sldIdLst>
        </p14:section>
        <p14:section name="Sec/Seg Value Sales Vs Avg Price By Manufacturer" id="{4AD29BB1-0364-44ED-92BF-F2D8896C5465}">
          <p14:sldIdLst>
            <p14:sldId id="2147477539"/>
            <p14:sldId id="2147477540"/>
            <p14:sldId id="2147477541"/>
            <p14:sldId id="2147477542"/>
            <p14:sldId id="2147477543"/>
          </p14:sldIdLst>
        </p14:section>
        <p14:section name="Sec/Seg Value Sales Vs Avg Price" id="{63CAB169-B463-48E3-A628-25CC3F567F0F}">
          <p14:sldIdLst>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Lst>
        </p14:section>
        <p14:section name="Sectors Value Sales Vs Avg Price" id="{CE621DF3-D9B7-4D51-A5EC-C0902F0CB644}">
          <p14:sldIdLst>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Lst>
        </p14:section>
        <p14:section name="Segment Value Sales Vs Avg Price" id="{B5FB886E-55E0-46B3-AF64-25D1C8BA6265}">
          <p14:sldIdLst>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 id="214747758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91" Type="http://schemas.openxmlformats.org/officeDocument/2006/relationships/slide" Target="slides/slide187.xml"/><Relationship Id="rId205" Type="http://schemas.openxmlformats.org/officeDocument/2006/relationships/slide" Target="slides/slide201.xml"/><Relationship Id="rId226" Type="http://schemas.openxmlformats.org/officeDocument/2006/relationships/slide" Target="slides/slide22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slide" Target="slides/slide177.xml"/><Relationship Id="rId216" Type="http://schemas.openxmlformats.org/officeDocument/2006/relationships/slide" Target="slides/slide212.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92" Type="http://schemas.openxmlformats.org/officeDocument/2006/relationships/slide" Target="slides/slide188.xml"/><Relationship Id="rId206" Type="http://schemas.openxmlformats.org/officeDocument/2006/relationships/slide" Target="slides/slide202.xml"/><Relationship Id="rId227" Type="http://schemas.openxmlformats.org/officeDocument/2006/relationships/slide" Target="slides/slide223.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slide" Target="slides/slide178.xml"/><Relationship Id="rId217" Type="http://schemas.openxmlformats.org/officeDocument/2006/relationships/slide" Target="slides/slide213.xml"/><Relationship Id="rId6" Type="http://schemas.openxmlformats.org/officeDocument/2006/relationships/slide" Target="slides/slide2.xml"/><Relationship Id="rId23" Type="http://schemas.openxmlformats.org/officeDocument/2006/relationships/slide" Target="slides/slide19.xml"/><Relationship Id="rId119" Type="http://schemas.openxmlformats.org/officeDocument/2006/relationships/slide" Target="slides/slide115.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slide" Target="slides/slide203.xml"/><Relationship Id="rId228" Type="http://schemas.openxmlformats.org/officeDocument/2006/relationships/slide" Target="slides/slide224.xml"/><Relationship Id="rId13" Type="http://schemas.openxmlformats.org/officeDocument/2006/relationships/slide" Target="slides/slide9.xml"/><Relationship Id="rId109" Type="http://schemas.openxmlformats.org/officeDocument/2006/relationships/slide" Target="slides/slide105.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229" Type="http://schemas.openxmlformats.org/officeDocument/2006/relationships/notesMaster" Target="notesMasters/notesMaster1.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slide" Target="slides/slide215.xml"/><Relationship Id="rId230" Type="http://schemas.openxmlformats.org/officeDocument/2006/relationships/presProps" Target="presProps.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79" Type="http://schemas.openxmlformats.org/officeDocument/2006/relationships/slide" Target="slides/slide175.xml"/><Relationship Id="rId195" Type="http://schemas.openxmlformats.org/officeDocument/2006/relationships/slide" Target="slides/slide191.xml"/><Relationship Id="rId209" Type="http://schemas.openxmlformats.org/officeDocument/2006/relationships/slide" Target="slides/slide205.xml"/><Relationship Id="rId190" Type="http://schemas.openxmlformats.org/officeDocument/2006/relationships/slide" Target="slides/slide186.xml"/><Relationship Id="rId204" Type="http://schemas.openxmlformats.org/officeDocument/2006/relationships/slide" Target="slides/slide200.xml"/><Relationship Id="rId220" Type="http://schemas.openxmlformats.org/officeDocument/2006/relationships/slide" Target="slides/slide216.xml"/><Relationship Id="rId225" Type="http://schemas.openxmlformats.org/officeDocument/2006/relationships/slide" Target="slides/slide221.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185" Type="http://schemas.openxmlformats.org/officeDocument/2006/relationships/slide" Target="slides/slide181.xml"/><Relationship Id="rId4" Type="http://schemas.openxmlformats.org/officeDocument/2006/relationships/slideMaster" Target="slideMasters/slideMaster1.xml"/><Relationship Id="rId9" Type="http://schemas.openxmlformats.org/officeDocument/2006/relationships/slide" Target="slides/slide5.xml"/><Relationship Id="rId180" Type="http://schemas.openxmlformats.org/officeDocument/2006/relationships/slide" Target="slides/slide176.xml"/><Relationship Id="rId210" Type="http://schemas.openxmlformats.org/officeDocument/2006/relationships/slide" Target="slides/slide206.xml"/><Relationship Id="rId215" Type="http://schemas.openxmlformats.org/officeDocument/2006/relationships/slide" Target="slides/slide211.xml"/><Relationship Id="rId26" Type="http://schemas.openxmlformats.org/officeDocument/2006/relationships/slide" Target="slides/slide22.xml"/><Relationship Id="rId231" Type="http://schemas.openxmlformats.org/officeDocument/2006/relationships/viewProps" Target="viewProps.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theme" Target="theme/theme1.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slide" Target="slides/slide218.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customXml" Target="../customXml/item1.xml"/><Relationship Id="rId212" Type="http://schemas.openxmlformats.org/officeDocument/2006/relationships/slide" Target="slides/slide208.xml"/><Relationship Id="rId233" Type="http://schemas.openxmlformats.org/officeDocument/2006/relationships/tableStyles" Target="tableStyles.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slide" Target="slides/slide198.xml"/><Relationship Id="rId223" Type="http://schemas.openxmlformats.org/officeDocument/2006/relationships/slide" Target="slides/slide219.xml"/><Relationship Id="rId18" Type="http://schemas.openxmlformats.org/officeDocument/2006/relationships/slide" Target="slides/slide14.xml"/><Relationship Id="rId39" Type="http://schemas.openxmlformats.org/officeDocument/2006/relationships/slide" Target="slides/slide35.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microsoft.com/office/2015/10/relationships/revisionInfo" Target="revisionInfo.xml"/><Relationship Id="rId2" Type="http://schemas.openxmlformats.org/officeDocument/2006/relationships/customXml" Target="../customXml/item2.xml"/><Relationship Id="rId29" Type="http://schemas.openxmlformats.org/officeDocument/2006/relationships/slide" Target="slides/slide25.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slide" Target="slides/slide220.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 Type="http://schemas.openxmlformats.org/officeDocument/2006/relationships/customXml" Target="../customXml/item3.xml"/><Relationship Id="rId214" Type="http://schemas.openxmlformats.org/officeDocument/2006/relationships/slide" Target="slides/slide210.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3" Type="http://schemas.openxmlformats.org/officeDocument/2006/relationships/package" Target="../embeddings/Microsoft_Excel_Worksheet183.xlsx"/><Relationship Id="rId2" Type="http://schemas.microsoft.com/office/2011/relationships/chartColorStyle" Target="colors1.xml"/><Relationship Id="rId1" Type="http://schemas.microsoft.com/office/2011/relationships/chartStyle" Target="style1.xml"/></Relationships>
</file>

<file path=ppt/charts/_rels/chart185.xml.rels><?xml version="1.0" encoding="UTF-8" standalone="yes"?>
<Relationships xmlns="http://schemas.openxmlformats.org/package/2006/relationships"><Relationship Id="rId3" Type="http://schemas.openxmlformats.org/officeDocument/2006/relationships/package" Target="../embeddings/Microsoft_Excel_Worksheet184.xlsx"/><Relationship Id="rId2" Type="http://schemas.microsoft.com/office/2011/relationships/chartColorStyle" Target="colors2.xml"/><Relationship Id="rId1" Type="http://schemas.microsoft.com/office/2011/relationships/chartStyle" Target="style2.xml"/></Relationships>
</file>

<file path=ppt/charts/_rels/chart186.xml.rels><?xml version="1.0" encoding="UTF-8" standalone="yes"?>
<Relationships xmlns="http://schemas.openxmlformats.org/package/2006/relationships"><Relationship Id="rId3" Type="http://schemas.openxmlformats.org/officeDocument/2006/relationships/package" Target="../embeddings/Microsoft_Excel_Worksheet185.xlsx"/><Relationship Id="rId2" Type="http://schemas.microsoft.com/office/2011/relationships/chartColorStyle" Target="colors3.xml"/><Relationship Id="rId1" Type="http://schemas.microsoft.com/office/2011/relationships/chartStyle" Target="style3.xml"/></Relationships>
</file>

<file path=ppt/charts/_rels/chart187.xml.rels><?xml version="1.0" encoding="UTF-8" standalone="yes"?>
<Relationships xmlns="http://schemas.openxmlformats.org/package/2006/relationships"><Relationship Id="rId3" Type="http://schemas.openxmlformats.org/officeDocument/2006/relationships/package" Target="../embeddings/Microsoft_Excel_Worksheet186.xlsx"/><Relationship Id="rId2" Type="http://schemas.microsoft.com/office/2011/relationships/chartColorStyle" Target="colors4.xml"/><Relationship Id="rId1" Type="http://schemas.microsoft.com/office/2011/relationships/chartStyle" Target="style4.xml"/></Relationships>
</file>

<file path=ppt/charts/_rels/chart188.xml.rels><?xml version="1.0" encoding="UTF-8" standalone="yes"?>
<Relationships xmlns="http://schemas.openxmlformats.org/package/2006/relationships"><Relationship Id="rId3" Type="http://schemas.openxmlformats.org/officeDocument/2006/relationships/package" Target="../embeddings/Microsoft_Excel_Worksheet187.xlsx"/><Relationship Id="rId2" Type="http://schemas.microsoft.com/office/2011/relationships/chartColorStyle" Target="colors5.xml"/><Relationship Id="rId1" Type="http://schemas.microsoft.com/office/2011/relationships/chartStyle" Target="style5.xml"/></Relationships>
</file>

<file path=ppt/charts/_rels/chart189.xml.rels><?xml version="1.0" encoding="UTF-8" standalone="yes"?>
<Relationships xmlns="http://schemas.openxmlformats.org/package/2006/relationships"><Relationship Id="rId3" Type="http://schemas.openxmlformats.org/officeDocument/2006/relationships/package" Target="../embeddings/Microsoft_Excel_Worksheet188.xlsx"/><Relationship Id="rId2" Type="http://schemas.microsoft.com/office/2011/relationships/chartColorStyle" Target="colors6.xml"/><Relationship Id="rId1" Type="http://schemas.microsoft.com/office/2011/relationships/chartStyle" Target="style6.xml"/></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3" Type="http://schemas.openxmlformats.org/officeDocument/2006/relationships/package" Target="../embeddings/Microsoft_Excel_Worksheet189.xlsx"/><Relationship Id="rId2" Type="http://schemas.microsoft.com/office/2011/relationships/chartColorStyle" Target="colors7.xml"/><Relationship Id="rId1" Type="http://schemas.microsoft.com/office/2011/relationships/chartStyle" Target="style7.xml"/></Relationships>
</file>

<file path=ppt/charts/_rels/chart191.xml.rels><?xml version="1.0" encoding="UTF-8" standalone="yes"?>
<Relationships xmlns="http://schemas.openxmlformats.org/package/2006/relationships"><Relationship Id="rId3" Type="http://schemas.openxmlformats.org/officeDocument/2006/relationships/package" Target="../embeddings/Microsoft_Excel_Worksheet190.xlsx"/><Relationship Id="rId2" Type="http://schemas.microsoft.com/office/2011/relationships/chartColorStyle" Target="colors8.xml"/><Relationship Id="rId1" Type="http://schemas.microsoft.com/office/2011/relationships/chartStyle" Target="style8.xml"/></Relationships>
</file>

<file path=ppt/charts/_rels/chart192.xml.rels><?xml version="1.0" encoding="UTF-8" standalone="yes"?>
<Relationships xmlns="http://schemas.openxmlformats.org/package/2006/relationships"><Relationship Id="rId3" Type="http://schemas.openxmlformats.org/officeDocument/2006/relationships/package" Target="../embeddings/Microsoft_Excel_Worksheet191.xlsx"/><Relationship Id="rId2" Type="http://schemas.microsoft.com/office/2011/relationships/chartColorStyle" Target="colors9.xml"/><Relationship Id="rId1" Type="http://schemas.microsoft.com/office/2011/relationships/chartStyle" Target="style9.xml"/></Relationships>
</file>

<file path=ppt/charts/_rels/chart193.xml.rels><?xml version="1.0" encoding="UTF-8" standalone="yes"?>
<Relationships xmlns="http://schemas.openxmlformats.org/package/2006/relationships"><Relationship Id="rId3" Type="http://schemas.openxmlformats.org/officeDocument/2006/relationships/package" Target="../embeddings/Microsoft_Excel_Worksheet192.xlsx"/><Relationship Id="rId2" Type="http://schemas.microsoft.com/office/2011/relationships/chartColorStyle" Target="colors10.xml"/><Relationship Id="rId1" Type="http://schemas.microsoft.com/office/2011/relationships/chartStyle" Target="style10.xml"/></Relationships>
</file>

<file path=ppt/charts/_rels/chart194.xml.rels><?xml version="1.0" encoding="UTF-8" standalone="yes"?>
<Relationships xmlns="http://schemas.openxmlformats.org/package/2006/relationships"><Relationship Id="rId3" Type="http://schemas.openxmlformats.org/officeDocument/2006/relationships/package" Target="../embeddings/Microsoft_Excel_Worksheet193.xlsx"/><Relationship Id="rId2" Type="http://schemas.microsoft.com/office/2011/relationships/chartColorStyle" Target="colors11.xml"/><Relationship Id="rId1" Type="http://schemas.microsoft.com/office/2011/relationships/chartStyle" Target="style11.xml"/></Relationships>
</file>

<file path=ppt/charts/_rels/chart195.xml.rels><?xml version="1.0" encoding="UTF-8" standalone="yes"?>
<Relationships xmlns="http://schemas.openxmlformats.org/package/2006/relationships"><Relationship Id="rId3" Type="http://schemas.openxmlformats.org/officeDocument/2006/relationships/package" Target="../embeddings/Microsoft_Excel_Worksheet194.xlsx"/><Relationship Id="rId2" Type="http://schemas.microsoft.com/office/2011/relationships/chartColorStyle" Target="colors12.xml"/><Relationship Id="rId1" Type="http://schemas.microsoft.com/office/2011/relationships/chartStyle" Target="style12.xml"/></Relationships>
</file>

<file path=ppt/charts/_rels/chart196.xml.rels><?xml version="1.0" encoding="UTF-8" standalone="yes"?>
<Relationships xmlns="http://schemas.openxmlformats.org/package/2006/relationships"><Relationship Id="rId3" Type="http://schemas.openxmlformats.org/officeDocument/2006/relationships/package" Target="../embeddings/Microsoft_Excel_Worksheet195.xlsx"/><Relationship Id="rId2" Type="http://schemas.microsoft.com/office/2011/relationships/chartColorStyle" Target="colors13.xml"/><Relationship Id="rId1" Type="http://schemas.microsoft.com/office/2011/relationships/chartStyle" Target="style13.xml"/></Relationships>
</file>

<file path=ppt/charts/_rels/chart197.xml.rels><?xml version="1.0" encoding="UTF-8" standalone="yes"?>
<Relationships xmlns="http://schemas.openxmlformats.org/package/2006/relationships"><Relationship Id="rId3" Type="http://schemas.openxmlformats.org/officeDocument/2006/relationships/package" Target="../embeddings/Microsoft_Excel_Worksheet196.xlsx"/><Relationship Id="rId2" Type="http://schemas.microsoft.com/office/2011/relationships/chartColorStyle" Target="colors14.xml"/><Relationship Id="rId1" Type="http://schemas.microsoft.com/office/2011/relationships/chartStyle" Target="style14.xml"/></Relationships>
</file>

<file path=ppt/charts/_rels/chart198.xml.rels><?xml version="1.0" encoding="UTF-8" standalone="yes"?>
<Relationships xmlns="http://schemas.openxmlformats.org/package/2006/relationships"><Relationship Id="rId3" Type="http://schemas.openxmlformats.org/officeDocument/2006/relationships/package" Target="../embeddings/Microsoft_Excel_Worksheet197.xlsx"/><Relationship Id="rId2" Type="http://schemas.microsoft.com/office/2011/relationships/chartColorStyle" Target="colors15.xml"/><Relationship Id="rId1" Type="http://schemas.microsoft.com/office/2011/relationships/chartStyle" Target="style15.xml"/></Relationships>
</file>

<file path=ppt/charts/_rels/chart199.xml.rels><?xml version="1.0" encoding="UTF-8" standalone="yes"?>
<Relationships xmlns="http://schemas.openxmlformats.org/package/2006/relationships"><Relationship Id="rId3" Type="http://schemas.openxmlformats.org/officeDocument/2006/relationships/package" Target="../embeddings/Microsoft_Excel_Worksheet198.xlsx"/><Relationship Id="rId2" Type="http://schemas.microsoft.com/office/2011/relationships/chartColorStyle" Target="colors16.xml"/><Relationship Id="rId1" Type="http://schemas.microsoft.com/office/2011/relationships/chartStyle" Target="style16.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3" Type="http://schemas.openxmlformats.org/officeDocument/2006/relationships/package" Target="../embeddings/Microsoft_Excel_Worksheet199.xlsx"/><Relationship Id="rId2" Type="http://schemas.microsoft.com/office/2011/relationships/chartColorStyle" Target="colors17.xml"/><Relationship Id="rId1" Type="http://schemas.microsoft.com/office/2011/relationships/chartStyle" Target="style17.xml"/></Relationships>
</file>

<file path=ppt/charts/_rels/chart201.xml.rels><?xml version="1.0" encoding="UTF-8" standalone="yes"?>
<Relationships xmlns="http://schemas.openxmlformats.org/package/2006/relationships"><Relationship Id="rId3" Type="http://schemas.openxmlformats.org/officeDocument/2006/relationships/package" Target="../embeddings/Microsoft_Excel_Worksheet200.xlsx"/><Relationship Id="rId2" Type="http://schemas.microsoft.com/office/2011/relationships/chartColorStyle" Target="colors18.xml"/><Relationship Id="rId1" Type="http://schemas.microsoft.com/office/2011/relationships/chartStyle" Target="style18.xml"/></Relationships>
</file>

<file path=ppt/charts/_rels/chart202.xml.rels><?xml version="1.0" encoding="UTF-8" standalone="yes"?>
<Relationships xmlns="http://schemas.openxmlformats.org/package/2006/relationships"><Relationship Id="rId3" Type="http://schemas.openxmlformats.org/officeDocument/2006/relationships/package" Target="../embeddings/Microsoft_Excel_Worksheet201.xlsx"/><Relationship Id="rId2" Type="http://schemas.microsoft.com/office/2011/relationships/chartColorStyle" Target="colors19.xml"/><Relationship Id="rId1" Type="http://schemas.microsoft.com/office/2011/relationships/chartStyle" Target="style19.xml"/></Relationships>
</file>

<file path=ppt/charts/_rels/chart203.xml.rels><?xml version="1.0" encoding="UTF-8" standalone="yes"?>
<Relationships xmlns="http://schemas.openxmlformats.org/package/2006/relationships"><Relationship Id="rId3" Type="http://schemas.openxmlformats.org/officeDocument/2006/relationships/package" Target="../embeddings/Microsoft_Excel_Worksheet202.xlsx"/><Relationship Id="rId2" Type="http://schemas.microsoft.com/office/2011/relationships/chartColorStyle" Target="colors20.xml"/><Relationship Id="rId1" Type="http://schemas.microsoft.com/office/2011/relationships/chartStyle" Target="style20.xml"/></Relationships>
</file>

<file path=ppt/charts/_rels/chart204.xml.rels><?xml version="1.0" encoding="UTF-8" standalone="yes"?>
<Relationships xmlns="http://schemas.openxmlformats.org/package/2006/relationships"><Relationship Id="rId3" Type="http://schemas.openxmlformats.org/officeDocument/2006/relationships/package" Target="../embeddings/Microsoft_Excel_Worksheet203.xlsx"/><Relationship Id="rId2" Type="http://schemas.microsoft.com/office/2011/relationships/chartColorStyle" Target="colors21.xml"/><Relationship Id="rId1" Type="http://schemas.microsoft.com/office/2011/relationships/chartStyle" Target="style21.xml"/></Relationships>
</file>

<file path=ppt/charts/_rels/chart205.xml.rels><?xml version="1.0" encoding="UTF-8" standalone="yes"?>
<Relationships xmlns="http://schemas.openxmlformats.org/package/2006/relationships"><Relationship Id="rId3" Type="http://schemas.openxmlformats.org/officeDocument/2006/relationships/package" Target="../embeddings/Microsoft_Excel_Worksheet204.xlsx"/><Relationship Id="rId2" Type="http://schemas.microsoft.com/office/2011/relationships/chartColorStyle" Target="colors22.xml"/><Relationship Id="rId1" Type="http://schemas.microsoft.com/office/2011/relationships/chartStyle" Target="style22.xml"/></Relationships>
</file>

<file path=ppt/charts/_rels/chart206.xml.rels><?xml version="1.0" encoding="UTF-8" standalone="yes"?>
<Relationships xmlns="http://schemas.openxmlformats.org/package/2006/relationships"><Relationship Id="rId3" Type="http://schemas.openxmlformats.org/officeDocument/2006/relationships/package" Target="../embeddings/Microsoft_Excel_Worksheet205.xlsx"/><Relationship Id="rId2" Type="http://schemas.microsoft.com/office/2011/relationships/chartColorStyle" Target="colors23.xml"/><Relationship Id="rId1" Type="http://schemas.microsoft.com/office/2011/relationships/chartStyle" Target="style23.xml"/></Relationships>
</file>

<file path=ppt/charts/_rels/chart207.xml.rels><?xml version="1.0" encoding="UTF-8" standalone="yes"?>
<Relationships xmlns="http://schemas.openxmlformats.org/package/2006/relationships"><Relationship Id="rId3" Type="http://schemas.openxmlformats.org/officeDocument/2006/relationships/package" Target="../embeddings/Microsoft_Excel_Worksheet206.xlsx"/><Relationship Id="rId2" Type="http://schemas.microsoft.com/office/2011/relationships/chartColorStyle" Target="colors24.xml"/><Relationship Id="rId1" Type="http://schemas.microsoft.com/office/2011/relationships/chartStyle" Target="style24.xml"/></Relationships>
</file>

<file path=ppt/charts/_rels/chart208.xml.rels><?xml version="1.0" encoding="UTF-8" standalone="yes"?>
<Relationships xmlns="http://schemas.openxmlformats.org/package/2006/relationships"><Relationship Id="rId3" Type="http://schemas.openxmlformats.org/officeDocument/2006/relationships/package" Target="../embeddings/Microsoft_Excel_Worksheet207.xlsx"/><Relationship Id="rId2" Type="http://schemas.microsoft.com/office/2011/relationships/chartColorStyle" Target="colors25.xml"/><Relationship Id="rId1" Type="http://schemas.microsoft.com/office/2011/relationships/chartStyle" Target="style25.xml"/></Relationships>
</file>

<file path=ppt/charts/_rels/chart209.xml.rels><?xml version="1.0" encoding="UTF-8" standalone="yes"?>
<Relationships xmlns="http://schemas.openxmlformats.org/package/2006/relationships"><Relationship Id="rId3" Type="http://schemas.openxmlformats.org/officeDocument/2006/relationships/package" Target="../embeddings/Microsoft_Excel_Worksheet208.xlsx"/><Relationship Id="rId2" Type="http://schemas.microsoft.com/office/2011/relationships/chartColorStyle" Target="colors26.xml"/><Relationship Id="rId1" Type="http://schemas.microsoft.com/office/2011/relationships/chartStyle" Target="style26.xml"/></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3" Type="http://schemas.openxmlformats.org/officeDocument/2006/relationships/package" Target="../embeddings/Microsoft_Excel_Worksheet209.xlsx"/><Relationship Id="rId2" Type="http://schemas.microsoft.com/office/2011/relationships/chartColorStyle" Target="colors27.xml"/><Relationship Id="rId1" Type="http://schemas.microsoft.com/office/2011/relationships/chartStyle" Target="style27.xml"/></Relationships>
</file>

<file path=ppt/charts/_rels/chart211.xml.rels><?xml version="1.0" encoding="UTF-8" standalone="yes"?>
<Relationships xmlns="http://schemas.openxmlformats.org/package/2006/relationships"><Relationship Id="rId3" Type="http://schemas.openxmlformats.org/officeDocument/2006/relationships/package" Target="../embeddings/Microsoft_Excel_Worksheet210.xlsx"/><Relationship Id="rId2" Type="http://schemas.microsoft.com/office/2011/relationships/chartColorStyle" Target="colors28.xml"/><Relationship Id="rId1" Type="http://schemas.microsoft.com/office/2011/relationships/chartStyle" Target="style28.xml"/></Relationships>
</file>

<file path=ppt/charts/_rels/chart212.xml.rels><?xml version="1.0" encoding="UTF-8" standalone="yes"?>
<Relationships xmlns="http://schemas.openxmlformats.org/package/2006/relationships"><Relationship Id="rId3" Type="http://schemas.openxmlformats.org/officeDocument/2006/relationships/package" Target="../embeddings/Microsoft_Excel_Worksheet211.xlsx"/><Relationship Id="rId2" Type="http://schemas.microsoft.com/office/2011/relationships/chartColorStyle" Target="colors29.xml"/><Relationship Id="rId1" Type="http://schemas.microsoft.com/office/2011/relationships/chartStyle" Target="style29.xml"/></Relationships>
</file>

<file path=ppt/charts/_rels/chart213.xml.rels><?xml version="1.0" encoding="UTF-8" standalone="yes"?>
<Relationships xmlns="http://schemas.openxmlformats.org/package/2006/relationships"><Relationship Id="rId3" Type="http://schemas.openxmlformats.org/officeDocument/2006/relationships/package" Target="../embeddings/Microsoft_Excel_Worksheet212.xlsx"/><Relationship Id="rId2" Type="http://schemas.microsoft.com/office/2011/relationships/chartColorStyle" Target="colors30.xml"/><Relationship Id="rId1" Type="http://schemas.microsoft.com/office/2011/relationships/chartStyle" Target="style30.xml"/></Relationships>
</file>

<file path=ppt/charts/_rels/chart214.xml.rels><?xml version="1.0" encoding="UTF-8" standalone="yes"?>
<Relationships xmlns="http://schemas.openxmlformats.org/package/2006/relationships"><Relationship Id="rId3" Type="http://schemas.openxmlformats.org/officeDocument/2006/relationships/package" Target="../embeddings/Microsoft_Excel_Worksheet213.xlsx"/><Relationship Id="rId2" Type="http://schemas.microsoft.com/office/2011/relationships/chartColorStyle" Target="colors31.xml"/><Relationship Id="rId1" Type="http://schemas.microsoft.com/office/2011/relationships/chartStyle" Target="style31.xml"/></Relationships>
</file>

<file path=ppt/charts/_rels/chart215.xml.rels><?xml version="1.0" encoding="UTF-8" standalone="yes"?>
<Relationships xmlns="http://schemas.openxmlformats.org/package/2006/relationships"><Relationship Id="rId3" Type="http://schemas.openxmlformats.org/officeDocument/2006/relationships/package" Target="../embeddings/Microsoft_Excel_Worksheet214.xlsx"/><Relationship Id="rId2" Type="http://schemas.microsoft.com/office/2011/relationships/chartColorStyle" Target="colors32.xml"/><Relationship Id="rId1" Type="http://schemas.microsoft.com/office/2011/relationships/chartStyle" Target="style32.xml"/></Relationships>
</file>

<file path=ppt/charts/_rels/chart216.xml.rels><?xml version="1.0" encoding="UTF-8" standalone="yes"?>
<Relationships xmlns="http://schemas.openxmlformats.org/package/2006/relationships"><Relationship Id="rId3" Type="http://schemas.openxmlformats.org/officeDocument/2006/relationships/package" Target="../embeddings/Microsoft_Excel_Worksheet215.xlsx"/><Relationship Id="rId2" Type="http://schemas.microsoft.com/office/2011/relationships/chartColorStyle" Target="colors33.xml"/><Relationship Id="rId1" Type="http://schemas.microsoft.com/office/2011/relationships/chartStyle" Target="style33.xml"/></Relationships>
</file>

<file path=ppt/charts/_rels/chart217.xml.rels><?xml version="1.0" encoding="UTF-8" standalone="yes"?>
<Relationships xmlns="http://schemas.openxmlformats.org/package/2006/relationships"><Relationship Id="rId3" Type="http://schemas.openxmlformats.org/officeDocument/2006/relationships/package" Target="../embeddings/Microsoft_Excel_Worksheet216.xlsx"/><Relationship Id="rId2" Type="http://schemas.microsoft.com/office/2011/relationships/chartColorStyle" Target="colors34.xml"/><Relationship Id="rId1" Type="http://schemas.microsoft.com/office/2011/relationships/chartStyle" Target="style34.xml"/></Relationships>
</file>

<file path=ppt/charts/_rels/chart218.xml.rels><?xml version="1.0" encoding="UTF-8" standalone="yes"?>
<Relationships xmlns="http://schemas.openxmlformats.org/package/2006/relationships"><Relationship Id="rId3" Type="http://schemas.openxmlformats.org/officeDocument/2006/relationships/package" Target="../embeddings/Microsoft_Excel_Worksheet217.xlsx"/><Relationship Id="rId2" Type="http://schemas.microsoft.com/office/2011/relationships/chartColorStyle" Target="colors35.xml"/><Relationship Id="rId1" Type="http://schemas.microsoft.com/office/2011/relationships/chartStyle" Target="style35.xml"/></Relationships>
</file>

<file path=ppt/charts/_rels/chart219.xml.rels><?xml version="1.0" encoding="UTF-8" standalone="yes"?>
<Relationships xmlns="http://schemas.openxmlformats.org/package/2006/relationships"><Relationship Id="rId3" Type="http://schemas.openxmlformats.org/officeDocument/2006/relationships/package" Target="../embeddings/Microsoft_Excel_Worksheet218.xlsx"/><Relationship Id="rId2" Type="http://schemas.microsoft.com/office/2011/relationships/chartColorStyle" Target="colors36.xml"/><Relationship Id="rId1" Type="http://schemas.microsoft.com/office/2011/relationships/chartStyle" Target="style36.xml"/></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3" Type="http://schemas.openxmlformats.org/officeDocument/2006/relationships/package" Target="../embeddings/Microsoft_Excel_Worksheet219.xlsx"/><Relationship Id="rId2" Type="http://schemas.microsoft.com/office/2011/relationships/chartColorStyle" Target="colors37.xml"/><Relationship Id="rId1" Type="http://schemas.microsoft.com/office/2011/relationships/chartStyle" Target="style37.xml"/></Relationships>
</file>

<file path=ppt/charts/_rels/chart221.xml.rels><?xml version="1.0" encoding="UTF-8" standalone="yes"?>
<Relationships xmlns="http://schemas.openxmlformats.org/package/2006/relationships"><Relationship Id="rId3" Type="http://schemas.openxmlformats.org/officeDocument/2006/relationships/package" Target="../embeddings/Microsoft_Excel_Worksheet220.xlsx"/><Relationship Id="rId2" Type="http://schemas.microsoft.com/office/2011/relationships/chartColorStyle" Target="colors38.xml"/><Relationship Id="rId1" Type="http://schemas.microsoft.com/office/2011/relationships/chartStyle" Target="style38.xml"/></Relationships>
</file>

<file path=ppt/charts/_rels/chart222.xml.rels><?xml version="1.0" encoding="UTF-8" standalone="yes"?>
<Relationships xmlns="http://schemas.openxmlformats.org/package/2006/relationships"><Relationship Id="rId3" Type="http://schemas.openxmlformats.org/officeDocument/2006/relationships/package" Target="../embeddings/Microsoft_Excel_Worksheet221.xlsx"/><Relationship Id="rId2" Type="http://schemas.microsoft.com/office/2011/relationships/chartColorStyle" Target="colors39.xml"/><Relationship Id="rId1" Type="http://schemas.microsoft.com/office/2011/relationships/chartStyle" Target="style39.xml"/></Relationships>
</file>

<file path=ppt/charts/_rels/chart223.xml.rels><?xml version="1.0" encoding="UTF-8" standalone="yes"?>
<Relationships xmlns="http://schemas.openxmlformats.org/package/2006/relationships"><Relationship Id="rId3" Type="http://schemas.openxmlformats.org/officeDocument/2006/relationships/package" Target="../embeddings/Microsoft_Excel_Worksheet222.xlsx"/><Relationship Id="rId2" Type="http://schemas.microsoft.com/office/2011/relationships/chartColorStyle" Target="colors40.xml"/><Relationship Id="rId1" Type="http://schemas.microsoft.com/office/2011/relationships/chartStyle" Target="style40.xml"/></Relationships>
</file>

<file path=ppt/charts/_rels/chart224.xml.rels><?xml version="1.0" encoding="UTF-8" standalone="yes"?>
<Relationships xmlns="http://schemas.openxmlformats.org/package/2006/relationships"><Relationship Id="rId3" Type="http://schemas.openxmlformats.org/officeDocument/2006/relationships/package" Target="../embeddings/Microsoft_Excel_Worksheet223.xlsx"/><Relationship Id="rId2" Type="http://schemas.microsoft.com/office/2011/relationships/chartColorStyle" Target="colors41.xml"/><Relationship Id="rId1" Type="http://schemas.microsoft.com/office/2011/relationships/chartStyle" Target="style41.xml"/></Relationships>
</file>

<file path=ppt/charts/_rels/chart225.xml.rels><?xml version="1.0" encoding="UTF-8" standalone="yes"?>
<Relationships xmlns="http://schemas.openxmlformats.org/package/2006/relationships"><Relationship Id="rId3" Type="http://schemas.openxmlformats.org/officeDocument/2006/relationships/package" Target="../embeddings/Microsoft_Excel_Worksheet224.xlsx"/><Relationship Id="rId2" Type="http://schemas.microsoft.com/office/2011/relationships/chartColorStyle" Target="colors42.xml"/><Relationship Id="rId1" Type="http://schemas.microsoft.com/office/2011/relationships/chartStyle" Target="style42.xml"/></Relationships>
</file>

<file path=ppt/charts/_rels/chart226.xml.rels><?xml version="1.0" encoding="UTF-8" standalone="yes"?>
<Relationships xmlns="http://schemas.openxmlformats.org/package/2006/relationships"><Relationship Id="rId3" Type="http://schemas.openxmlformats.org/officeDocument/2006/relationships/package" Target="../embeddings/Microsoft_Excel_Worksheet225.xlsx"/><Relationship Id="rId2" Type="http://schemas.microsoft.com/office/2011/relationships/chartColorStyle" Target="colors43.xml"/><Relationship Id="rId1" Type="http://schemas.microsoft.com/office/2011/relationships/chartStyle" Target="style43.xml"/></Relationships>
</file>

<file path=ppt/charts/_rels/chart227.xml.rels><?xml version="1.0" encoding="UTF-8" standalone="yes"?>
<Relationships xmlns="http://schemas.openxmlformats.org/package/2006/relationships"><Relationship Id="rId3" Type="http://schemas.openxmlformats.org/officeDocument/2006/relationships/package" Target="../embeddings/Microsoft_Excel_Worksheet226.xlsx"/><Relationship Id="rId2" Type="http://schemas.microsoft.com/office/2011/relationships/chartColorStyle" Target="colors44.xml"/><Relationship Id="rId1" Type="http://schemas.microsoft.com/office/2011/relationships/chartStyle" Target="style44.xml"/></Relationships>
</file>

<file path=ppt/charts/_rels/chart228.xml.rels><?xml version="1.0" encoding="UTF-8" standalone="yes"?>
<Relationships xmlns="http://schemas.openxmlformats.org/package/2006/relationships"><Relationship Id="rId3" Type="http://schemas.openxmlformats.org/officeDocument/2006/relationships/package" Target="../embeddings/Microsoft_Excel_Worksheet227.xlsx"/><Relationship Id="rId2" Type="http://schemas.microsoft.com/office/2011/relationships/chartColorStyle" Target="colors45.xml"/><Relationship Id="rId1" Type="http://schemas.microsoft.com/office/2011/relationships/chartStyle" Target="style45.xml"/></Relationships>
</file>

<file path=ppt/charts/_rels/chart229.xml.rels><?xml version="1.0" encoding="UTF-8" standalone="yes"?>
<Relationships xmlns="http://schemas.openxmlformats.org/package/2006/relationships"><Relationship Id="rId3" Type="http://schemas.openxmlformats.org/officeDocument/2006/relationships/package" Target="../embeddings/Microsoft_Excel_Worksheet228.xlsx"/><Relationship Id="rId2" Type="http://schemas.microsoft.com/office/2011/relationships/chartColorStyle" Target="colors46.xml"/><Relationship Id="rId1" Type="http://schemas.microsoft.com/office/2011/relationships/chartStyle" Target="style46.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3" Type="http://schemas.openxmlformats.org/officeDocument/2006/relationships/package" Target="../embeddings/Microsoft_Excel_Worksheet229.xlsx"/><Relationship Id="rId2" Type="http://schemas.microsoft.com/office/2011/relationships/chartColorStyle" Target="colors47.xml"/><Relationship Id="rId1" Type="http://schemas.microsoft.com/office/2011/relationships/chartStyle" Target="style47.xml"/></Relationships>
</file>

<file path=ppt/charts/_rels/chart231.xml.rels><?xml version="1.0" encoding="UTF-8" standalone="yes"?>
<Relationships xmlns="http://schemas.openxmlformats.org/package/2006/relationships"><Relationship Id="rId3" Type="http://schemas.openxmlformats.org/officeDocument/2006/relationships/package" Target="../embeddings/Microsoft_Excel_Worksheet230.xlsx"/><Relationship Id="rId2" Type="http://schemas.microsoft.com/office/2011/relationships/chartColorStyle" Target="colors48.xml"/><Relationship Id="rId1" Type="http://schemas.microsoft.com/office/2011/relationships/chartStyle" Target="style48.xml"/></Relationships>
</file>

<file path=ppt/charts/_rels/chart232.xml.rels><?xml version="1.0" encoding="UTF-8" standalone="yes"?>
<Relationships xmlns="http://schemas.openxmlformats.org/package/2006/relationships"><Relationship Id="rId3" Type="http://schemas.openxmlformats.org/officeDocument/2006/relationships/package" Target="../embeddings/Microsoft_Excel_Worksheet231.xlsx"/><Relationship Id="rId2" Type="http://schemas.microsoft.com/office/2011/relationships/chartColorStyle" Target="colors49.xml"/><Relationship Id="rId1" Type="http://schemas.microsoft.com/office/2011/relationships/chartStyle" Target="style49.xml"/></Relationships>
</file>

<file path=ppt/charts/_rels/chart233.xml.rels><?xml version="1.0" encoding="UTF-8" standalone="yes"?>
<Relationships xmlns="http://schemas.openxmlformats.org/package/2006/relationships"><Relationship Id="rId3" Type="http://schemas.openxmlformats.org/officeDocument/2006/relationships/package" Target="../embeddings/Microsoft_Excel_Worksheet232.xlsx"/><Relationship Id="rId2" Type="http://schemas.microsoft.com/office/2011/relationships/chartColorStyle" Target="colors50.xml"/><Relationship Id="rId1" Type="http://schemas.microsoft.com/office/2011/relationships/chartStyle" Target="style50.xml"/></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E3855CB-6C58-4A8F-9C59-717C091039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516D4D8-E701-4587-B416-1BE96D47E9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706FA6B-6BFA-48ED-AB2D-B31F63A0F4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AD22844-AE70-4DF4-826A-87C52AC28D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214BBCF-173A-424B-B3C6-05FB9F9EBA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A14BB3C-12C9-4E85-A8CE-42AEADA308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642498D-9C13-4064-ACE0-DD1F7E64F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4E5F147-670E-4FF2-B6C5-7479216FD9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8.62180000000001</c:v>
                </c:pt>
                <c:pt idx="1">
                  <c:v>613.25300000000004</c:v>
                </c:pt>
                <c:pt idx="2">
                  <c:v>218.2782</c:v>
                </c:pt>
                <c:pt idx="3">
                  <c:v>581.07939999999996</c:v>
                </c:pt>
                <c:pt idx="4">
                  <c:v>212.268</c:v>
                </c:pt>
                <c:pt idx="5">
                  <c:v>649.51160000000004</c:v>
                </c:pt>
                <c:pt idx="6">
                  <c:v>668.8338</c:v>
                </c:pt>
                <c:pt idx="7">
                  <c:v>207.99539999999999</c:v>
                </c:pt>
              </c:numCache>
            </c:numRef>
          </c:xVal>
          <c:yVal>
            <c:numRef>
              <c:f>Sheet1!$B$2:$B$9</c:f>
              <c:numCache>
                <c:formatCode>General</c:formatCode>
                <c:ptCount val="8"/>
                <c:pt idx="0">
                  <c:v>0.73799999999999999</c:v>
                </c:pt>
                <c:pt idx="1">
                  <c:v>2.8860000000000001</c:v>
                </c:pt>
                <c:pt idx="2">
                  <c:v>0.504</c:v>
                </c:pt>
                <c:pt idx="3">
                  <c:v>4.532</c:v>
                </c:pt>
                <c:pt idx="4">
                  <c:v>0.49199999999999999</c:v>
                </c:pt>
                <c:pt idx="5">
                  <c:v>3.8679999999999999</c:v>
                </c:pt>
                <c:pt idx="6">
                  <c:v>3.4849999999999999</c:v>
                </c:pt>
                <c:pt idx="7">
                  <c:v>1.68</c:v>
                </c:pt>
              </c:numCache>
            </c:numRef>
          </c:yVal>
          <c:bubbleSize>
            <c:numRef>
              <c:f>Sheet1!$C$2:$C$9</c:f>
              <c:numCache>
                <c:formatCode>General</c:formatCode>
                <c:ptCount val="8"/>
                <c:pt idx="0">
                  <c:v>793024766</c:v>
                </c:pt>
                <c:pt idx="1">
                  <c:v>629447145</c:v>
                </c:pt>
                <c:pt idx="2">
                  <c:v>386902988</c:v>
                </c:pt>
                <c:pt idx="3">
                  <c:v>385073783</c:v>
                </c:pt>
                <c:pt idx="4">
                  <c:v>329391699</c:v>
                </c:pt>
                <c:pt idx="5">
                  <c:v>268650336</c:v>
                </c:pt>
                <c:pt idx="6">
                  <c:v>254179570</c:v>
                </c:pt>
                <c:pt idx="7">
                  <c:v>13146973</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Hawaiian Tropic</c:v>
                  </c:pt>
                  <c:pt idx="3">
                    <c:v>La Roche-Posay</c:v>
                  </c:pt>
                  <c:pt idx="4">
                    <c:v>Banana Boat</c:v>
                  </c:pt>
                  <c:pt idx="5">
                    <c:v>Eucerin</c:v>
                  </c:pt>
                  <c:pt idx="6">
                    <c:v>Avene</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03"/>
          <c:min val="16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67F407E-27DB-43D7-B23A-8247FCE2E3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94F8799-A821-4A71-AE8D-DC134E33BB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5C37164-C55A-4022-B36B-666EC3C129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9F8D67A-6354-4A20-AC1C-258427FABB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9AE8538-3622-4334-87F5-A5BEF74F75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1500187-30AE-4B5C-8866-C1A5D0D899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3537819-2AFB-4A9C-8B4D-675A030C56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4F06BCA-8F0E-42A9-8A52-C0860D9C5D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3.31460000000001</c:v>
                </c:pt>
                <c:pt idx="1">
                  <c:v>209.0821</c:v>
                </c:pt>
                <c:pt idx="2">
                  <c:v>228.26419999999999</c:v>
                </c:pt>
                <c:pt idx="3">
                  <c:v>577.1653</c:v>
                </c:pt>
                <c:pt idx="4">
                  <c:v>291.35789999999997</c:v>
                </c:pt>
                <c:pt idx="5">
                  <c:v>84.787800000000004</c:v>
                </c:pt>
                <c:pt idx="6">
                  <c:v>563.72080000000005</c:v>
                </c:pt>
                <c:pt idx="7">
                  <c:v>206.30250000000001</c:v>
                </c:pt>
              </c:numCache>
            </c:numRef>
          </c:xVal>
          <c:yVal>
            <c:numRef>
              <c:f>Sheet1!$B$2:$B$9</c:f>
              <c:numCache>
                <c:formatCode>General</c:formatCode>
                <c:ptCount val="8"/>
                <c:pt idx="0">
                  <c:v>1.03</c:v>
                </c:pt>
                <c:pt idx="1">
                  <c:v>0.748</c:v>
                </c:pt>
                <c:pt idx="2">
                  <c:v>0.751</c:v>
                </c:pt>
                <c:pt idx="3">
                  <c:v>4.0640000000000001</c:v>
                </c:pt>
                <c:pt idx="4">
                  <c:v>1.9950000000000001</c:v>
                </c:pt>
                <c:pt idx="5">
                  <c:v>0.40899999999999997</c:v>
                </c:pt>
                <c:pt idx="6">
                  <c:v>6.1130000000000004</c:v>
                </c:pt>
                <c:pt idx="7">
                  <c:v>2.4860000000000002</c:v>
                </c:pt>
              </c:numCache>
            </c:numRef>
          </c:yVal>
          <c:bubbleSize>
            <c:numRef>
              <c:f>Sheet1!$C$2:$C$9</c:f>
              <c:numCache>
                <c:formatCode>General</c:formatCode>
                <c:ptCount val="8"/>
                <c:pt idx="0">
                  <c:v>523432960</c:v>
                </c:pt>
                <c:pt idx="1">
                  <c:v>246489415</c:v>
                </c:pt>
                <c:pt idx="2">
                  <c:v>205279552</c:v>
                </c:pt>
                <c:pt idx="3">
                  <c:v>108131910</c:v>
                </c:pt>
                <c:pt idx="4">
                  <c:v>101346207</c:v>
                </c:pt>
                <c:pt idx="5">
                  <c:v>61992752</c:v>
                </c:pt>
                <c:pt idx="6">
                  <c:v>44526055</c:v>
                </c:pt>
                <c:pt idx="7">
                  <c:v>12459021</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La Roche-Posay</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
          <c:min val="6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F30BD0-FB8B-4C2E-8306-BDC3C99A85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7B737A5-90F1-4A3A-A667-4E7DDC4CCD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375A80F-D028-4339-9209-ACB22E02BA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90045EE-EFC1-4125-A05D-618A6E37B2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3F7F3A1-8BC1-4C87-AD56-433F7F9A16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07B1B9D-BD18-43E5-AEDF-389ECAFC7A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A81D0CF-87DB-42A7-851F-38C4862CE7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8149861-3D86-4145-B665-A8951C87EF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7.43469999999999</c:v>
                </c:pt>
                <c:pt idx="1">
                  <c:v>243.1917</c:v>
                </c:pt>
                <c:pt idx="2">
                  <c:v>174.00470000000001</c:v>
                </c:pt>
                <c:pt idx="3">
                  <c:v>637.64200000000005</c:v>
                </c:pt>
                <c:pt idx="4">
                  <c:v>877.44539999999995</c:v>
                </c:pt>
                <c:pt idx="5">
                  <c:v>614.92139999999995</c:v>
                </c:pt>
                <c:pt idx="6">
                  <c:v>524.34870000000001</c:v>
                </c:pt>
                <c:pt idx="7">
                  <c:v>282.38249999999999</c:v>
                </c:pt>
              </c:numCache>
            </c:numRef>
          </c:xVal>
          <c:yVal>
            <c:numRef>
              <c:f>Sheet1!$B$2:$B$9</c:f>
              <c:numCache>
                <c:formatCode>General</c:formatCode>
                <c:ptCount val="8"/>
                <c:pt idx="0">
                  <c:v>0.77900000000000003</c:v>
                </c:pt>
                <c:pt idx="1">
                  <c:v>0.66400000000000003</c:v>
                </c:pt>
                <c:pt idx="2">
                  <c:v>0.70299999999999996</c:v>
                </c:pt>
                <c:pt idx="3">
                  <c:v>3.8740000000000001</c:v>
                </c:pt>
                <c:pt idx="4">
                  <c:v>4.2080000000000002</c:v>
                </c:pt>
                <c:pt idx="5">
                  <c:v>1.23</c:v>
                </c:pt>
                <c:pt idx="6">
                  <c:v>2.0019999999999998</c:v>
                </c:pt>
                <c:pt idx="7">
                  <c:v>5.7880000000000003</c:v>
                </c:pt>
              </c:numCache>
            </c:numRef>
          </c:yVal>
          <c:bubbleSize>
            <c:numRef>
              <c:f>Sheet1!$C$2:$C$9</c:f>
              <c:numCache>
                <c:formatCode>General</c:formatCode>
                <c:ptCount val="8"/>
                <c:pt idx="0">
                  <c:v>75533658</c:v>
                </c:pt>
                <c:pt idx="1">
                  <c:v>63653251</c:v>
                </c:pt>
                <c:pt idx="2">
                  <c:v>35286075</c:v>
                </c:pt>
                <c:pt idx="3">
                  <c:v>13405148</c:v>
                </c:pt>
                <c:pt idx="4">
                  <c:v>8344506</c:v>
                </c:pt>
                <c:pt idx="5">
                  <c:v>7937406</c:v>
                </c:pt>
                <c:pt idx="6">
                  <c:v>7648674</c:v>
                </c:pt>
                <c:pt idx="7">
                  <c:v>530032</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La Roche-Posay</c:v>
                  </c:pt>
                  <c:pt idx="5">
                    <c:v>Avene</c:v>
                  </c:pt>
                  <c:pt idx="6">
                    <c:v>Cetaphil</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53"/>
          <c:min val="13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C21DEC5-F416-4519-A90C-D6EDB44D5D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ED00538-2D69-4AF5-8F6C-341B7427F8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A7BAA5C-3138-41E0-902B-96B8DE3A93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9C5894B-3DE3-4F59-87F5-81FD5657A4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77B83A0-339A-4B0B-BCBC-4B7D00462A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39429E2-0565-4F0D-A6B7-388245476C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839D195-3573-4BAC-B39D-72194601BD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52E8B26-A57A-4E8A-8F3A-E5C64D65E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99.21340000000001</c:v>
                </c:pt>
                <c:pt idx="1">
                  <c:v>648.63059999999996</c:v>
                </c:pt>
                <c:pt idx="2">
                  <c:v>331.2047</c:v>
                </c:pt>
                <c:pt idx="3">
                  <c:v>721.35090000000002</c:v>
                </c:pt>
                <c:pt idx="4">
                  <c:v>412.82</c:v>
                </c:pt>
              </c:numCache>
            </c:numRef>
          </c:xVal>
          <c:yVal>
            <c:numRef>
              <c:f>Sheet1!$B$2:$B$6</c:f>
              <c:numCache>
                <c:formatCode>General</c:formatCode>
                <c:ptCount val="5"/>
                <c:pt idx="0">
                  <c:v>0.81399999999999995</c:v>
                </c:pt>
                <c:pt idx="1">
                  <c:v>1.363</c:v>
                </c:pt>
                <c:pt idx="2">
                  <c:v>2.7040000000000002</c:v>
                </c:pt>
                <c:pt idx="3">
                  <c:v>2.4049999999999998</c:v>
                </c:pt>
                <c:pt idx="4">
                  <c:v>4.4470000000000001</c:v>
                </c:pt>
              </c:numCache>
            </c:numRef>
          </c:yVal>
          <c:bubbleSize>
            <c:numRef>
              <c:f>Sheet1!$C$2:$C$6</c:f>
              <c:numCache>
                <c:formatCode>General</c:formatCode>
                <c:ptCount val="5"/>
                <c:pt idx="0">
                  <c:v>24318781</c:v>
                </c:pt>
                <c:pt idx="1">
                  <c:v>4895215</c:v>
                </c:pt>
                <c:pt idx="2">
                  <c:v>2831469</c:v>
                </c:pt>
                <c:pt idx="3">
                  <c:v>2783693</c:v>
                </c:pt>
                <c:pt idx="4">
                  <c:v>1969977</c:v>
                </c:pt>
              </c:numCache>
            </c:numRef>
          </c:bubbleSize>
          <c:bubble3D val="0"/>
          <c:extLst>
            <c:ext xmlns:c15="http://schemas.microsoft.com/office/drawing/2012/chart" uri="{02D57815-91ED-43cb-92C2-25804820EDAC}">
              <c15:datalabelsRange>
                <c15:f>Sheet1!$E$2:$E$10</c15:f>
                <c15:dlblRangeCache>
                  <c:ptCount val="9"/>
                  <c:pt idx="0">
                    <c:v>Banana Boat</c:v>
                  </c:pt>
                  <c:pt idx="1">
                    <c:v>Isdin</c:v>
                  </c:pt>
                  <c:pt idx="2">
                    <c:v>Eclipsol</c:v>
                  </c:pt>
                  <c:pt idx="3">
                    <c:v>La Roche-Posay</c:v>
                  </c:pt>
                  <c:pt idx="4">
                    <c:v>Muste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66"/>
          <c:min val="1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20FDF4A-3170-4F12-AD01-681AE981A0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F4E46270-33DD-467E-8825-B396672D39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AABB438-9F5C-43B1-AEC7-528962270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A9ED2CC-2B6A-4DE4-B486-A01A8C13EB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6013463-D7E7-4517-A364-A5DF2D03B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065C543-1B50-474F-B83B-604B4C8C50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BF2F507-68CB-4131-ABF1-5CC4E930D8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6DBF98C-CBD8-4286-ACF8-BC45D59A5E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68.09210000000002</c:v>
                </c:pt>
              </c:numCache>
            </c:numRef>
          </c:xVal>
          <c:yVal>
            <c:numRef>
              <c:f>Sheet1!$B$2:$B$2</c:f>
              <c:numCache>
                <c:formatCode>General</c:formatCode>
                <c:ptCount val="1"/>
                <c:pt idx="0">
                  <c:v>1</c:v>
                </c:pt>
              </c:numCache>
            </c:numRef>
          </c:yVal>
          <c:bubbleSize>
            <c:numRef>
              <c:f>Sheet1!$C$2:$C$2</c:f>
              <c:numCache>
                <c:formatCode>General</c:formatCode>
                <c:ptCount val="1"/>
                <c:pt idx="0">
                  <c:v>238602</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2"/>
          <c:min val="2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3B097C-B38D-43EC-BE5D-41534DCFBA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7C444BF0-90F8-4043-8F39-DB7E892F85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0466A40-A25E-44DA-8C34-D5963ACD61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B2BAC53-0A44-42C5-9510-526A5E0093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4D15B3C-A3A5-4E1A-99CE-AE9FF2A6D5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1555880-E778-49DA-8629-55CFC768FE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49C92D6-054D-4959-A741-7EA7813558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3578394-EED5-4A3B-ABB2-4827F2D597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34.5549</c:v>
                </c:pt>
              </c:numCache>
            </c:numRef>
          </c:xVal>
          <c:yVal>
            <c:numRef>
              <c:f>Sheet1!$B$2:$B$2</c:f>
              <c:numCache>
                <c:formatCode>General</c:formatCode>
                <c:ptCount val="1"/>
                <c:pt idx="0">
                  <c:v>0.80300000000000005</c:v>
                </c:pt>
              </c:numCache>
            </c:numRef>
          </c:yVal>
          <c:bubbleSize>
            <c:numRef>
              <c:f>Sheet1!$C$2:$C$2</c:f>
              <c:numCache>
                <c:formatCode>General</c:formatCode>
                <c:ptCount val="1"/>
                <c:pt idx="0">
                  <c:v>3247882</c:v>
                </c:pt>
              </c:numCache>
            </c:numRef>
          </c:bubbleSize>
          <c:bubble3D val="0"/>
          <c:extLst>
            <c:ext xmlns:c15="http://schemas.microsoft.com/office/drawing/2012/chart" uri="{02D57815-91ED-43cb-92C2-25804820EDAC}">
              <c15:datalabelsRange>
                <c15:f>Sheet1!$E$2:$E$10</c15:f>
                <c15:dlblRangeCache>
                  <c:ptCount val="9"/>
                  <c:pt idx="0">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1"/>
          <c:min val="18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4422F4F-A571-450E-98C4-E85A7274FD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94A22F5-6A84-4D1F-8988-E3758E0CAF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D64E40E-7321-4FB5-BD9A-BBF56C59AB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1E6DBEF-1D45-46E3-A920-3EAF686F3A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1B50163-9B33-46BA-98C4-3CE4870FB0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17EC992-D099-4DCB-BEE2-672C4B38E2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6E96416-73FB-4D2B-B9BA-FB9BF81584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BCF8105-8936-40A3-A204-A232E46647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750.1001</c:v>
                </c:pt>
                <c:pt idx="1">
                  <c:v>1110.2319</c:v>
                </c:pt>
                <c:pt idx="2">
                  <c:v>631.07150000000001</c:v>
                </c:pt>
              </c:numCache>
            </c:numRef>
          </c:xVal>
          <c:yVal>
            <c:numRef>
              <c:f>Sheet1!$B$2:$B$4</c:f>
              <c:numCache>
                <c:formatCode>General</c:formatCode>
                <c:ptCount val="3"/>
                <c:pt idx="0">
                  <c:v>0.89700000000000002</c:v>
                </c:pt>
                <c:pt idx="1">
                  <c:v>1.853</c:v>
                </c:pt>
                <c:pt idx="2">
                  <c:v>1.6910000000000001</c:v>
                </c:pt>
              </c:numCache>
            </c:numRef>
          </c:yVal>
          <c:bubbleSize>
            <c:numRef>
              <c:f>Sheet1!$C$2:$C$4</c:f>
              <c:numCache>
                <c:formatCode>General</c:formatCode>
                <c:ptCount val="3"/>
                <c:pt idx="0">
                  <c:v>20864033</c:v>
                </c:pt>
                <c:pt idx="1">
                  <c:v>3767017</c:v>
                </c:pt>
                <c:pt idx="2">
                  <c:v>2206857</c:v>
                </c:pt>
              </c:numCache>
            </c:numRef>
          </c:bubbleSize>
          <c:bubble3D val="0"/>
          <c:extLst>
            <c:ext xmlns:c15="http://schemas.microsoft.com/office/drawing/2012/chart" uri="{02D57815-91ED-43cb-92C2-25804820EDAC}">
              <c15:datalabelsRange>
                <c15:f>Sheet1!$E$2:$E$10</c15:f>
                <c15:dlblRangeCache>
                  <c:ptCount val="9"/>
                  <c:pt idx="0">
                    <c:v>Photoderm</c:v>
                  </c:pt>
                  <c:pt idx="1">
                    <c:v>La Roche-Posay</c:v>
                  </c:pt>
                  <c:pt idx="2">
                    <c:v>Genov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32"/>
          <c:min val="50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9727FC1-5BAD-40FF-8509-6ABB05F5D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6283A19-4907-4FD7-8157-5979EAE2A1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1DA0834-11FC-4388-891F-00E5B9174B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95853C1-F2B6-4BCA-8717-640B580B6D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F665ABE-CC66-4C20-BB2E-2DD11AE268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33301D5-640A-4F40-8978-6412696592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AED902E-F71C-4B9A-A30C-6507FC3B3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9F32DA4-53D4-4A35-A6A6-E271B7D362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489.36520000000002</c:v>
                </c:pt>
                <c:pt idx="1">
                  <c:v>555.08360000000005</c:v>
                </c:pt>
              </c:numCache>
            </c:numRef>
          </c:xVal>
          <c:yVal>
            <c:numRef>
              <c:f>Sheet1!$B$2:$B$3</c:f>
              <c:numCache>
                <c:formatCode>General</c:formatCode>
                <c:ptCount val="2"/>
                <c:pt idx="0">
                  <c:v>1.357</c:v>
                </c:pt>
                <c:pt idx="1">
                  <c:v>0.60499999999999998</c:v>
                </c:pt>
              </c:numCache>
            </c:numRef>
          </c:yVal>
          <c:bubbleSize>
            <c:numRef>
              <c:f>Sheet1!$C$2:$C$3</c:f>
              <c:numCache>
                <c:formatCode>General</c:formatCode>
                <c:ptCount val="2"/>
                <c:pt idx="0">
                  <c:v>30527089</c:v>
                </c:pt>
                <c:pt idx="1">
                  <c:v>12418886</c:v>
                </c:pt>
              </c:numCache>
            </c:numRef>
          </c:bubbleSize>
          <c:bubble3D val="0"/>
          <c:extLst>
            <c:ext xmlns:c15="http://schemas.microsoft.com/office/drawing/2012/chart" uri="{02D57815-91ED-43cb-92C2-25804820EDAC}">
              <c15:datalabelsRange>
                <c15:f>Sheet1!$E$2:$E$10</c15:f>
                <c15:dlblRangeCache>
                  <c:ptCount val="9"/>
                  <c:pt idx="0">
                    <c:v>Isdin</c:v>
                  </c:pt>
                  <c:pt idx="1">
                    <c:v>Helio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6"/>
          <c:min val="39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4D7B162-8C18-4918-8B7B-B42A21E2CE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E283347-4CA6-4ADA-BBF1-8A2EC84AD8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EA26795-6F09-4517-B8CB-B3A61BDE44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5A07452-85FB-4EB6-A669-9FABB52B82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935B53D-5D4F-456C-A71E-4FE66B8218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C9A08E6-95BB-4FF5-8853-46257A184D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EDBF065-F3F4-4F2E-AC34-D8DD680150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6237669-B2DE-4ED3-B0FE-A3285677E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2.5838</c:v>
                </c:pt>
                <c:pt idx="1">
                  <c:v>427.95409999999998</c:v>
                </c:pt>
                <c:pt idx="2">
                  <c:v>242.91040000000001</c:v>
                </c:pt>
                <c:pt idx="3">
                  <c:v>80.124899999999997</c:v>
                </c:pt>
                <c:pt idx="4">
                  <c:v>96.877300000000005</c:v>
                </c:pt>
                <c:pt idx="5">
                  <c:v>291.05380000000002</c:v>
                </c:pt>
                <c:pt idx="6">
                  <c:v>213.35749999999999</c:v>
                </c:pt>
              </c:numCache>
            </c:numRef>
          </c:xVal>
          <c:yVal>
            <c:numRef>
              <c:f>Sheet1!$B$2:$B$8</c:f>
              <c:numCache>
                <c:formatCode>General</c:formatCode>
                <c:ptCount val="7"/>
                <c:pt idx="0">
                  <c:v>2.1219999999999999</c:v>
                </c:pt>
                <c:pt idx="1">
                  <c:v>6.7889999999999997</c:v>
                </c:pt>
                <c:pt idx="2">
                  <c:v>0.81100000000000005</c:v>
                </c:pt>
                <c:pt idx="3">
                  <c:v>0.505</c:v>
                </c:pt>
                <c:pt idx="4">
                  <c:v>0.63</c:v>
                </c:pt>
                <c:pt idx="5">
                  <c:v>1.8180000000000001</c:v>
                </c:pt>
                <c:pt idx="6">
                  <c:v>0.76900000000000002</c:v>
                </c:pt>
              </c:numCache>
            </c:numRef>
          </c:yVal>
          <c:bubbleSize>
            <c:numRef>
              <c:f>Sheet1!$C$2:$C$8</c:f>
              <c:numCache>
                <c:formatCode>General</c:formatCode>
                <c:ptCount val="7"/>
                <c:pt idx="0">
                  <c:v>3097552</c:v>
                </c:pt>
                <c:pt idx="1">
                  <c:v>1947191</c:v>
                </c:pt>
                <c:pt idx="2">
                  <c:v>1233013</c:v>
                </c:pt>
                <c:pt idx="3">
                  <c:v>1209966</c:v>
                </c:pt>
                <c:pt idx="4">
                  <c:v>1076307</c:v>
                </c:pt>
                <c:pt idx="5">
                  <c:v>400490</c:v>
                </c:pt>
                <c:pt idx="6">
                  <c:v>393858</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Banana Boat</c:v>
                  </c:pt>
                  <c:pt idx="3">
                    <c:v>Caribbean Beach</c:v>
                  </c:pt>
                  <c:pt idx="4">
                    <c:v>Nuvel</c:v>
                  </c:pt>
                  <c:pt idx="5">
                    <c:v>Eclipsol</c:v>
                  </c:pt>
                  <c:pt idx="6">
                    <c:v>Hawaiian Trop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14"/>
          <c:min val="6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318E63C-AABF-4CE8-8A4F-54D8D4836E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9EA6FE62-4A7C-4FE7-B7A7-FE692A7B6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72385C8-B1E5-4A4C-8EAC-459917ABC9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79569F6-99A1-40F2-B4E6-1706812986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414655C-9320-4FC1-9730-B7CFB570F5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95707B4-F7D7-486A-9D91-89CF16FF02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B872A51-5A60-4A8B-88A3-C6FA1DBE2F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17053AB-FD97-457D-A587-E3CBC13E6F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650.38699999999994</c:v>
                </c:pt>
              </c:numCache>
            </c:numRef>
          </c:xVal>
          <c:yVal>
            <c:numRef>
              <c:f>Sheet1!$B$2:$B$2</c:f>
              <c:numCache>
                <c:formatCode>General</c:formatCode>
                <c:ptCount val="1"/>
                <c:pt idx="0">
                  <c:v>1</c:v>
                </c:pt>
              </c:numCache>
            </c:numRef>
          </c:yVal>
          <c:bubbleSize>
            <c:numRef>
              <c:f>Sheet1!$C$2:$C$2</c:f>
              <c:numCache>
                <c:formatCode>General</c:formatCode>
                <c:ptCount val="1"/>
                <c:pt idx="0">
                  <c:v>290723</c:v>
                </c:pt>
              </c:numCache>
            </c:numRef>
          </c:bubbleSize>
          <c:bubble3D val="0"/>
          <c:extLst>
            <c:ext xmlns:c15="http://schemas.microsoft.com/office/drawing/2012/chart" uri="{02D57815-91ED-43cb-92C2-25804820EDAC}">
              <c15:datalabelsRange>
                <c15:f>Sheet1!$E$2:$E$10</c15:f>
                <c15:dlblRangeCache>
                  <c:ptCount val="9"/>
                  <c:pt idx="0">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0"/>
          <c:min val="5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3BEA57-D8AA-44B9-872B-E787B66FF1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DB32EB8-B89B-4C26-A378-9C7316E95F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0988872-1263-49BB-9677-063905B162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327B75E-5C7A-44F2-86B0-A85FB4EB6B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5F24A89-9E17-46AB-8CA5-5FE5697F7D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5BCDA33-91EA-4920-9163-67B2920CD4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6691CFB-9770-4FBD-B938-2ACADD12B4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771C2D2-9A5F-40EE-9C0E-A584F4D8E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77.00709999999998</c:v>
                </c:pt>
                <c:pt idx="1">
                  <c:v>465.66890000000001</c:v>
                </c:pt>
              </c:numCache>
            </c:numRef>
          </c:xVal>
          <c:yVal>
            <c:numRef>
              <c:f>Sheet1!$B$2:$B$3</c:f>
              <c:numCache>
                <c:formatCode>General</c:formatCode>
                <c:ptCount val="2"/>
                <c:pt idx="0">
                  <c:v>0.99099999999999999</c:v>
                </c:pt>
                <c:pt idx="1">
                  <c:v>1.016</c:v>
                </c:pt>
              </c:numCache>
            </c:numRef>
          </c:yVal>
          <c:bubbleSize>
            <c:numRef>
              <c:f>Sheet1!$C$2:$C$3</c:f>
              <c:numCache>
                <c:formatCode>General</c:formatCode>
                <c:ptCount val="2"/>
                <c:pt idx="0">
                  <c:v>1204704</c:v>
                </c:pt>
                <c:pt idx="1">
                  <c:v>682205</c:v>
                </c:pt>
              </c:numCache>
            </c:numRef>
          </c:bubbleSize>
          <c:bubble3D val="0"/>
          <c:extLst>
            <c:ext xmlns:c15="http://schemas.microsoft.com/office/drawing/2012/chart" uri="{02D57815-91ED-43cb-92C2-25804820EDAC}">
              <c15:datalabelsRange>
                <c15:f>Sheet1!$E$2:$E$10</c15:f>
                <c15:dlblRangeCache>
                  <c:ptCount val="9"/>
                  <c:pt idx="0">
                    <c:v>Nivea</c:v>
                  </c:pt>
                  <c:pt idx="1">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59"/>
          <c:min val="2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E4BDC1F-382E-41FF-A212-58B71EDA99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1B82193-EC43-4F61-92BD-F62FA237DB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0753E45-B073-443F-B8E2-2E242B4201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382EE78-D6DF-409C-B6AB-46F77A9101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0C02CBB-53F8-4F02-857A-0A6FA2B69E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21B43AD-400A-448B-B60B-38C599EC92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C9310B5-AD30-4DA5-9270-E593BD6757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5683205-035F-468D-8ED5-8D1B27EE49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90.7534</c:v>
                </c:pt>
                <c:pt idx="1">
                  <c:v>154.00649999999999</c:v>
                </c:pt>
                <c:pt idx="2">
                  <c:v>125.0885</c:v>
                </c:pt>
                <c:pt idx="3">
                  <c:v>205.88</c:v>
                </c:pt>
              </c:numCache>
            </c:numRef>
          </c:xVal>
          <c:yVal>
            <c:numRef>
              <c:f>Sheet1!$B$2:$B$5</c:f>
              <c:numCache>
                <c:formatCode>General</c:formatCode>
                <c:ptCount val="4"/>
                <c:pt idx="0">
                  <c:v>1.024</c:v>
                </c:pt>
                <c:pt idx="1">
                  <c:v>0.84799999999999998</c:v>
                </c:pt>
                <c:pt idx="2">
                  <c:v>0.93700000000000006</c:v>
                </c:pt>
                <c:pt idx="3">
                  <c:v>1.2709999999999999</c:v>
                </c:pt>
              </c:numCache>
            </c:numRef>
          </c:yVal>
          <c:bubbleSize>
            <c:numRef>
              <c:f>Sheet1!$C$2:$C$5</c:f>
              <c:numCache>
                <c:formatCode>General</c:formatCode>
                <c:ptCount val="4"/>
                <c:pt idx="0">
                  <c:v>4361194</c:v>
                </c:pt>
                <c:pt idx="1">
                  <c:v>589229</c:v>
                </c:pt>
                <c:pt idx="2">
                  <c:v>359004</c:v>
                </c:pt>
                <c:pt idx="3">
                  <c:v>5147</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7"/>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3FEE209-AD57-4E9D-B9D9-6CA0AA947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4A9EE1F-F33E-44B2-A68D-DBE7367FAC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C613E2B-471E-467C-8C72-289E9343B4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D240E9E-2DBB-4519-BF62-ECDCFBD8FA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A69A14E-FC52-437A-B1EF-2BC13581AF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ACA442F-FD6E-4478-B852-FF5B22F7C6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30E133C-0A29-4665-AEEF-3C6A06650A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3AA93E5-EE12-4351-8ED3-36E6819E3D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632.50260000000003</c:v>
                </c:pt>
                <c:pt idx="1">
                  <c:v>548.4271</c:v>
                </c:pt>
                <c:pt idx="2">
                  <c:v>681.34450000000004</c:v>
                </c:pt>
                <c:pt idx="3">
                  <c:v>678.15869999999995</c:v>
                </c:pt>
                <c:pt idx="4">
                  <c:v>395.63639999999998</c:v>
                </c:pt>
              </c:numCache>
            </c:numRef>
          </c:xVal>
          <c:yVal>
            <c:numRef>
              <c:f>Sheet1!$B$2:$B$6</c:f>
              <c:numCache>
                <c:formatCode>General</c:formatCode>
                <c:ptCount val="5"/>
                <c:pt idx="0">
                  <c:v>0.874</c:v>
                </c:pt>
                <c:pt idx="1">
                  <c:v>1.736</c:v>
                </c:pt>
                <c:pt idx="2">
                  <c:v>2.4820000000000002</c:v>
                </c:pt>
                <c:pt idx="3">
                  <c:v>0.93500000000000005</c:v>
                </c:pt>
                <c:pt idx="4">
                  <c:v>1.2030000000000001</c:v>
                </c:pt>
              </c:numCache>
            </c:numRef>
          </c:yVal>
          <c:bubbleSize>
            <c:numRef>
              <c:f>Sheet1!$C$2:$C$6</c:f>
              <c:numCache>
                <c:formatCode>General</c:formatCode>
                <c:ptCount val="5"/>
                <c:pt idx="0">
                  <c:v>29936346</c:v>
                </c:pt>
                <c:pt idx="1">
                  <c:v>29139577</c:v>
                </c:pt>
                <c:pt idx="2">
                  <c:v>3833244</c:v>
                </c:pt>
                <c:pt idx="3">
                  <c:v>3764459</c:v>
                </c:pt>
                <c:pt idx="4">
                  <c:v>21760</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Vichy</c:v>
                  </c:pt>
                  <c:pt idx="3">
                    <c:v>Heliocare</c:v>
                  </c:pt>
                  <c:pt idx="4">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8"/>
          <c:min val="31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3481F9B-4D1A-4DFC-8D3C-EBFA231F6A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B206FE5-EB85-45BD-A9CF-8437C5AF89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8F4212E-4796-47E0-83B5-98BBBA3A99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D15A789-C5D9-46E4-98EC-3AAC0A9216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E64C7BB-9C80-44FB-B7E8-0E558D0BB1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69797BB-CBC2-41EA-AA9E-77F62AB3B0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EF8D751-3152-49A8-B789-738C6CB313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9640018-4B45-4670-BEBC-3E8D46B5C5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43.9477</c:v>
                </c:pt>
                <c:pt idx="1">
                  <c:v>219.7927</c:v>
                </c:pt>
              </c:numCache>
            </c:numRef>
          </c:xVal>
          <c:yVal>
            <c:numRef>
              <c:f>Sheet1!$B$2:$B$3</c:f>
              <c:numCache>
                <c:formatCode>General</c:formatCode>
                <c:ptCount val="2"/>
                <c:pt idx="0">
                  <c:v>1.0840000000000001</c:v>
                </c:pt>
                <c:pt idx="1">
                  <c:v>0.82499999999999996</c:v>
                </c:pt>
              </c:numCache>
            </c:numRef>
          </c:yVal>
          <c:bubbleSize>
            <c:numRef>
              <c:f>Sheet1!$C$2:$C$3</c:f>
              <c:numCache>
                <c:formatCode>General</c:formatCode>
                <c:ptCount val="2"/>
                <c:pt idx="0">
                  <c:v>517657</c:v>
                </c:pt>
                <c:pt idx="1">
                  <c:v>36046</c:v>
                </c:pt>
              </c:numCache>
            </c:numRef>
          </c:bubbleSize>
          <c:bubble3D val="0"/>
          <c:extLst>
            <c:ext xmlns:c15="http://schemas.microsoft.com/office/drawing/2012/chart" uri="{02D57815-91ED-43cb-92C2-25804820EDAC}">
              <c15:datalabelsRange>
                <c15:f>Sheet1!$E$2:$E$10</c15:f>
                <c15:dlblRangeCache>
                  <c:ptCount val="9"/>
                  <c:pt idx="0">
                    <c:v>Banana Boat</c:v>
                  </c:pt>
                  <c:pt idx="1">
                    <c:v>Neutrogen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3"/>
          <c:min val="17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E3196ED-F9B6-4DB0-9887-4FD35A619A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A776D318-A2A4-4886-B840-36649F037D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03213CB-C321-48B8-9695-EE852EE43D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9C6D06A-B25A-4ED1-B1DD-97763B43A8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D62FAAC-4DBD-4E56-A362-EF0B5D689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4D6C199-1877-4733-A921-6ADDC3FBE5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EDA5A7F-B4A8-4C04-94F3-2A8D426EEA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199F5A6-A043-4A49-A3BF-3BAA0125DB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45.64230000000001</c:v>
                </c:pt>
              </c:numCache>
            </c:numRef>
          </c:xVal>
          <c:yVal>
            <c:numRef>
              <c:f>Sheet1!$B$2:$B$2</c:f>
              <c:numCache>
                <c:formatCode>General</c:formatCode>
                <c:ptCount val="1"/>
                <c:pt idx="0">
                  <c:v>1</c:v>
                </c:pt>
              </c:numCache>
            </c:numRef>
          </c:yVal>
          <c:bubbleSize>
            <c:numRef>
              <c:f>Sheet1!$C$2:$C$2</c:f>
              <c:numCache>
                <c:formatCode>General</c:formatCode>
                <c:ptCount val="1"/>
                <c:pt idx="0">
                  <c:v>90642</c:v>
                </c:pt>
              </c:numCache>
            </c:numRef>
          </c:bubbleSize>
          <c:bubble3D val="0"/>
          <c:extLst>
            <c:ext xmlns:c15="http://schemas.microsoft.com/office/drawing/2012/chart" uri="{02D57815-91ED-43cb-92C2-25804820EDAC}">
              <c15:datalabelsRange>
                <c15:f>Sheet1!$E$2:$E$10</c15:f>
                <c15:dlblRangeCache>
                  <c:ptCount val="9"/>
                  <c:pt idx="0">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5"/>
          <c:min val="19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A23025-9764-4DF7-B886-8C4576B2B1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8E63BAD-3972-4D94-9736-4989A6D2D7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7687F05-E6D2-4B79-87BA-80A8E345FA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7DD48C8-E03C-4701-A7F2-0E2DE3FDB8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FC6B078-79E9-4291-BA56-01FCDDCA6D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9C0A18D-AE4C-4919-9161-3BA82AC6CD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720F7E4-718F-484F-971F-2B8C7CACCD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6DF1FFC-0999-4247-909D-BAB3B4856D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597.39189999999996</c:v>
                </c:pt>
                <c:pt idx="1">
                  <c:v>490.33460000000002</c:v>
                </c:pt>
                <c:pt idx="2">
                  <c:v>644.59540000000004</c:v>
                </c:pt>
              </c:numCache>
            </c:numRef>
          </c:xVal>
          <c:yVal>
            <c:numRef>
              <c:f>Sheet1!$B$2:$B$4</c:f>
              <c:numCache>
                <c:formatCode>General</c:formatCode>
                <c:ptCount val="3"/>
                <c:pt idx="0">
                  <c:v>1.1519999999999999</c:v>
                </c:pt>
                <c:pt idx="1">
                  <c:v>2.149</c:v>
                </c:pt>
                <c:pt idx="2">
                  <c:v>2.8420000000000001</c:v>
                </c:pt>
              </c:numCache>
            </c:numRef>
          </c:yVal>
          <c:bubbleSize>
            <c:numRef>
              <c:f>Sheet1!$C$2:$C$4</c:f>
              <c:numCache>
                <c:formatCode>General</c:formatCode>
                <c:ptCount val="3"/>
                <c:pt idx="0">
                  <c:v>7450074</c:v>
                </c:pt>
                <c:pt idx="1">
                  <c:v>5051427</c:v>
                </c:pt>
                <c:pt idx="2">
                  <c:v>1432291</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Vich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74"/>
          <c:min val="39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F94B118-7224-441C-A777-0DD31C65CA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174A3A-6B38-4D46-8777-7059FB8626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3F5E469-8AF2-4A3C-9A92-9CA540583F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6C0DE5B-4B01-40AA-8246-670B70B7D6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004349E-CFB3-4ECF-8FCF-6C2021A332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D5C0E34-2F52-480E-80DD-C401BBB5C7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D7C280D-EE28-483D-A42E-111C6A5401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03C3410-F52A-47A4-BC97-44A0BC44F6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3.6815</c:v>
                </c:pt>
                <c:pt idx="1">
                  <c:v>290.39980000000003</c:v>
                </c:pt>
                <c:pt idx="2">
                  <c:v>238.27600000000001</c:v>
                </c:pt>
                <c:pt idx="3">
                  <c:v>239.1284</c:v>
                </c:pt>
                <c:pt idx="4">
                  <c:v>84.7851</c:v>
                </c:pt>
                <c:pt idx="5">
                  <c:v>583.70219999999995</c:v>
                </c:pt>
                <c:pt idx="6">
                  <c:v>74.360500000000002</c:v>
                </c:pt>
                <c:pt idx="7">
                  <c:v>185.8261</c:v>
                </c:pt>
              </c:numCache>
            </c:numRef>
          </c:xVal>
          <c:yVal>
            <c:numRef>
              <c:f>Sheet1!$B$2:$B$9</c:f>
              <c:numCache>
                <c:formatCode>General</c:formatCode>
                <c:ptCount val="8"/>
                <c:pt idx="0">
                  <c:v>1.4079999999999999</c:v>
                </c:pt>
                <c:pt idx="1">
                  <c:v>1.9490000000000001</c:v>
                </c:pt>
                <c:pt idx="2">
                  <c:v>0.70899999999999996</c:v>
                </c:pt>
                <c:pt idx="3">
                  <c:v>0.64700000000000002</c:v>
                </c:pt>
                <c:pt idx="4">
                  <c:v>0.40500000000000003</c:v>
                </c:pt>
                <c:pt idx="5">
                  <c:v>7.6680000000000001</c:v>
                </c:pt>
                <c:pt idx="6">
                  <c:v>0.38</c:v>
                </c:pt>
                <c:pt idx="7">
                  <c:v>2.8849999999999998</c:v>
                </c:pt>
              </c:numCache>
            </c:numRef>
          </c:yVal>
          <c:bubbleSize>
            <c:numRef>
              <c:f>Sheet1!$C$2:$C$9</c:f>
              <c:numCache>
                <c:formatCode>General</c:formatCode>
                <c:ptCount val="8"/>
                <c:pt idx="0">
                  <c:v>216369464</c:v>
                </c:pt>
                <c:pt idx="1">
                  <c:v>99185766</c:v>
                </c:pt>
                <c:pt idx="2">
                  <c:v>72656085</c:v>
                </c:pt>
                <c:pt idx="3">
                  <c:v>66279225</c:v>
                </c:pt>
                <c:pt idx="4">
                  <c:v>61986759</c:v>
                </c:pt>
                <c:pt idx="5">
                  <c:v>57072654</c:v>
                </c:pt>
                <c:pt idx="6">
                  <c:v>23746346</c:v>
                </c:pt>
                <c:pt idx="7">
                  <c:v>20689324</c:v>
                </c:pt>
              </c:numCache>
            </c:numRef>
          </c:bubbleSize>
          <c:bubble3D val="0"/>
          <c:extLst>
            <c:ext xmlns:c15="http://schemas.microsoft.com/office/drawing/2012/chart" uri="{02D57815-91ED-43cb-92C2-25804820EDAC}">
              <c15:datalabelsRange>
                <c15:f>Sheet1!$E$2:$E$10</c15:f>
                <c15:dlblRangeCache>
                  <c:ptCount val="9"/>
                  <c:pt idx="0">
                    <c:v>Nivea</c:v>
                  </c:pt>
                  <c:pt idx="1">
                    <c:v>Neutrogena</c:v>
                  </c:pt>
                  <c:pt idx="2">
                    <c:v>Hawaiian Tropic</c:v>
                  </c:pt>
                  <c:pt idx="3">
                    <c:v>Banana Boat</c:v>
                  </c:pt>
                  <c:pt idx="4">
                    <c:v>Caribbean Beach</c:v>
                  </c:pt>
                  <c:pt idx="5">
                    <c:v>Isdin</c:v>
                  </c:pt>
                  <c:pt idx="6">
                    <c:v>Nuvel</c:v>
                  </c:pt>
                  <c:pt idx="7">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0"/>
          <c:min val="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52D0C1C-C0C7-4F79-9C4F-E538C48AAA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CC1FD76-A01D-47B7-ACDA-DA1A64E82F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94E9003-1425-41C8-B41D-E806D7009A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203FFA8-CD09-4731-8DFA-64F3D5F1F8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C1D5D8D-FCE4-4F8B-AD1B-1A23932F9A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A0759DD-678F-413B-9B3C-B01D9B6FEA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0DD9EC2-116F-43C8-8D46-160F238946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0B77676-EE03-4131-9CC1-BBA4FA2332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51.95619999999997</c:v>
                </c:pt>
                <c:pt idx="1">
                  <c:v>580.10599999999999</c:v>
                </c:pt>
                <c:pt idx="2">
                  <c:v>243.3535</c:v>
                </c:pt>
                <c:pt idx="3">
                  <c:v>533.79150000000004</c:v>
                </c:pt>
                <c:pt idx="4">
                  <c:v>524.24919999999997</c:v>
                </c:pt>
                <c:pt idx="5">
                  <c:v>369.12920000000003</c:v>
                </c:pt>
                <c:pt idx="6">
                  <c:v>269.45240000000001</c:v>
                </c:pt>
              </c:numCache>
            </c:numRef>
          </c:xVal>
          <c:yVal>
            <c:numRef>
              <c:f>Sheet1!$B$2:$B$8</c:f>
              <c:numCache>
                <c:formatCode>General</c:formatCode>
                <c:ptCount val="7"/>
                <c:pt idx="0">
                  <c:v>1.123</c:v>
                </c:pt>
                <c:pt idx="1">
                  <c:v>1.3009999999999999</c:v>
                </c:pt>
                <c:pt idx="2">
                  <c:v>0.56799999999999995</c:v>
                </c:pt>
                <c:pt idx="3">
                  <c:v>1.8520000000000001</c:v>
                </c:pt>
                <c:pt idx="4">
                  <c:v>1.0369999999999999</c:v>
                </c:pt>
                <c:pt idx="5">
                  <c:v>1.389</c:v>
                </c:pt>
                <c:pt idx="6">
                  <c:v>0.51600000000000001</c:v>
                </c:pt>
              </c:numCache>
            </c:numRef>
          </c:yVal>
          <c:bubbleSize>
            <c:numRef>
              <c:f>Sheet1!$C$2:$C$8</c:f>
              <c:numCache>
                <c:formatCode>General</c:formatCode>
                <c:ptCount val="7"/>
                <c:pt idx="0">
                  <c:v>17135479</c:v>
                </c:pt>
                <c:pt idx="1">
                  <c:v>14920906</c:v>
                </c:pt>
                <c:pt idx="2">
                  <c:v>11123445</c:v>
                </c:pt>
                <c:pt idx="3">
                  <c:v>4767826</c:v>
                </c:pt>
                <c:pt idx="4">
                  <c:v>4638557</c:v>
                </c:pt>
                <c:pt idx="5">
                  <c:v>2334373</c:v>
                </c:pt>
                <c:pt idx="6">
                  <c:v>676056</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Nivea</c:v>
                  </c:pt>
                  <c:pt idx="3">
                    <c:v>Avene</c:v>
                  </c:pt>
                  <c:pt idx="4">
                    <c:v>Eucerin</c:v>
                  </c:pt>
                  <c:pt idx="5">
                    <c:v>Photoderm</c:v>
                  </c:pt>
                  <c:pt idx="6">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6"/>
          <c:min val="19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60B986A-3EDB-469B-B701-31A8FE8EAC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6900FE8-9C56-46C4-B208-8C9AB17ED8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01A7E0A-7A0F-438A-A2B6-63F8E40D24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7E9A91A-69F5-4B54-822C-52668183CF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FEC1DF4-45F4-45B7-B2B1-2D6EB204C3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C179A3F-862C-489E-BB3D-26E0553F33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22E21E5-97BE-4F68-ABD3-84F93437DA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E742449-441B-4BD3-9AEC-56CA449C2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58.05040000000002</c:v>
                </c:pt>
                <c:pt idx="1">
                  <c:v>591.13890000000004</c:v>
                </c:pt>
                <c:pt idx="2">
                  <c:v>552.87980000000005</c:v>
                </c:pt>
                <c:pt idx="3">
                  <c:v>539.27739999999994</c:v>
                </c:pt>
                <c:pt idx="4">
                  <c:v>567.20190000000002</c:v>
                </c:pt>
                <c:pt idx="5">
                  <c:v>467.96749999999997</c:v>
                </c:pt>
              </c:numCache>
            </c:numRef>
          </c:xVal>
          <c:yVal>
            <c:numRef>
              <c:f>Sheet1!$B$2:$B$7</c:f>
              <c:numCache>
                <c:formatCode>General</c:formatCode>
                <c:ptCount val="6"/>
                <c:pt idx="0">
                  <c:v>0.79900000000000004</c:v>
                </c:pt>
                <c:pt idx="1">
                  <c:v>1.417</c:v>
                </c:pt>
                <c:pt idx="2">
                  <c:v>6.5259999999999998</c:v>
                </c:pt>
                <c:pt idx="3">
                  <c:v>6.6909999999999998</c:v>
                </c:pt>
                <c:pt idx="4">
                  <c:v>41.033000000000001</c:v>
                </c:pt>
                <c:pt idx="5">
                  <c:v>3.1779999999999999</c:v>
                </c:pt>
              </c:numCache>
            </c:numRef>
          </c:yVal>
          <c:bubbleSize>
            <c:numRef>
              <c:f>Sheet1!$C$2:$C$7</c:f>
              <c:numCache>
                <c:formatCode>General</c:formatCode>
                <c:ptCount val="6"/>
                <c:pt idx="0">
                  <c:v>91166125</c:v>
                </c:pt>
                <c:pt idx="1">
                  <c:v>17641359</c:v>
                </c:pt>
                <c:pt idx="2">
                  <c:v>11875859</c:v>
                </c:pt>
                <c:pt idx="3">
                  <c:v>5504944</c:v>
                </c:pt>
                <c:pt idx="4">
                  <c:v>1573418</c:v>
                </c:pt>
                <c:pt idx="5">
                  <c:v>1323880</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Eucerin</c:v>
                  </c:pt>
                  <c:pt idx="3">
                    <c:v>La Roche-Posay</c:v>
                  </c:pt>
                  <c:pt idx="4">
                    <c:v>Photoderm</c:v>
                  </c:pt>
                  <c:pt idx="5">
                    <c:v>Cetaph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
          <c:min val="20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3D5A69C-557B-48D4-887E-F837772875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3294670-ACE2-4757-94EC-52176A39B6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5F7BAAF-CC2E-40A0-B524-1E34ED52D1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6B57EF5-964D-4226-8A90-7FBEAD99C9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0112D5D-CA96-4392-A18C-2568D2F1E3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4D4B250-CF56-41DE-9B02-73B2583A90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953B81A-EDD7-48E8-9850-2F43D6307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3C2EBC9-F46B-48BE-8BD9-00264B0969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602.04489999999998</c:v>
                </c:pt>
                <c:pt idx="1">
                  <c:v>627.20219999999995</c:v>
                </c:pt>
              </c:numCache>
            </c:numRef>
          </c:xVal>
          <c:yVal>
            <c:numRef>
              <c:f>Sheet1!$B$2:$B$3</c:f>
              <c:numCache>
                <c:formatCode>General</c:formatCode>
                <c:ptCount val="2"/>
                <c:pt idx="0">
                  <c:v>0.90200000000000002</c:v>
                </c:pt>
                <c:pt idx="1">
                  <c:v>0</c:v>
                </c:pt>
              </c:numCache>
            </c:numRef>
          </c:yVal>
          <c:bubbleSize>
            <c:numRef>
              <c:f>Sheet1!$C$2:$C$3</c:f>
              <c:numCache>
                <c:formatCode>General</c:formatCode>
                <c:ptCount val="2"/>
                <c:pt idx="0">
                  <c:v>2562303</c:v>
                </c:pt>
                <c:pt idx="1">
                  <c:v>279105</c:v>
                </c:pt>
              </c:numCache>
            </c:numRef>
          </c:bubbleSize>
          <c:bubble3D val="0"/>
          <c:extLst>
            <c:ext xmlns:c15="http://schemas.microsoft.com/office/drawing/2012/chart" uri="{02D57815-91ED-43cb-92C2-25804820EDAC}">
              <c15:datalabelsRange>
                <c15:f>Sheet1!$E$2:$E$10</c15:f>
                <c15:dlblRangeCache>
                  <c:ptCount val="9"/>
                  <c:pt idx="0">
                    <c:v>Eucerin</c:v>
                  </c:pt>
                  <c:pt idx="1">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53"/>
          <c:min val="48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095383-2A9B-45D7-958C-C19735F3C7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2A02901-4D9F-4409-8C5E-6C46B74E93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599066C-961F-4343-9B4E-8442AB6D35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6BFD298-9183-42E0-9B5F-65A8AC6C58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54E3C6E-C5FC-45A4-8232-FD3274A55C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582378A-9696-4578-8534-3EC1458331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6A18C41-0167-4305-8778-7E4A021EC5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057AA97-61F6-4F25-96FA-FF7E4450DE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36.91249999999999</c:v>
                </c:pt>
                <c:pt idx="1">
                  <c:v>198.89670000000001</c:v>
                </c:pt>
                <c:pt idx="2">
                  <c:v>200.6215</c:v>
                </c:pt>
                <c:pt idx="3">
                  <c:v>247.20529999999999</c:v>
                </c:pt>
                <c:pt idx="4">
                  <c:v>206.30250000000001</c:v>
                </c:pt>
              </c:numCache>
            </c:numRef>
          </c:xVal>
          <c:yVal>
            <c:numRef>
              <c:f>Sheet1!$B$2:$B$6</c:f>
              <c:numCache>
                <c:formatCode>General</c:formatCode>
                <c:ptCount val="5"/>
                <c:pt idx="0">
                  <c:v>0.96799999999999997</c:v>
                </c:pt>
                <c:pt idx="1">
                  <c:v>0.89</c:v>
                </c:pt>
                <c:pt idx="2">
                  <c:v>0.90100000000000002</c:v>
                </c:pt>
                <c:pt idx="3">
                  <c:v>4.5359999999999996</c:v>
                </c:pt>
                <c:pt idx="4">
                  <c:v>2.9039999999999999</c:v>
                </c:pt>
              </c:numCache>
            </c:numRef>
          </c:yVal>
          <c:bubbleSize>
            <c:numRef>
              <c:f>Sheet1!$C$2:$C$6</c:f>
              <c:numCache>
                <c:formatCode>General</c:formatCode>
                <c:ptCount val="5"/>
                <c:pt idx="0">
                  <c:v>204773926</c:v>
                </c:pt>
                <c:pt idx="1">
                  <c:v>173833330</c:v>
                </c:pt>
                <c:pt idx="2">
                  <c:v>64017528</c:v>
                </c:pt>
                <c:pt idx="3">
                  <c:v>19748491</c:v>
                </c:pt>
                <c:pt idx="4">
                  <c:v>12459021</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Loreal Paris</c:v>
                  </c:pt>
                  <c:pt idx="4">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7"/>
          <c:min val="1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2D43734-14B8-4BF0-A7A5-ADD638D9F2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17B91CA-35FF-4242-8B42-8710F8D9B3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45C2471-AEDA-444E-8BAC-04E0F80C6F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88CE447-6B23-402A-AC1F-7F4424548A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68F7A77-FB88-4817-84FF-D959297412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4B201E9-E4FE-4971-848A-4000D4AC8B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0ACB42E-2809-4042-924F-D25EE3950C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CF8B3A2-CA9A-442A-A6F0-DB2B762AF5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9.33860000000001</c:v>
                </c:pt>
                <c:pt idx="1">
                  <c:v>597.97450000000003</c:v>
                </c:pt>
                <c:pt idx="2">
                  <c:v>566.36</c:v>
                </c:pt>
                <c:pt idx="3">
                  <c:v>246.7004</c:v>
                </c:pt>
                <c:pt idx="4">
                  <c:v>424.61759999999998</c:v>
                </c:pt>
              </c:numCache>
            </c:numRef>
          </c:xVal>
          <c:yVal>
            <c:numRef>
              <c:f>Sheet1!$B$2:$B$6</c:f>
              <c:numCache>
                <c:formatCode>General</c:formatCode>
                <c:ptCount val="5"/>
                <c:pt idx="0">
                  <c:v>0.94799999999999995</c:v>
                </c:pt>
                <c:pt idx="1">
                  <c:v>2.04</c:v>
                </c:pt>
                <c:pt idx="2">
                  <c:v>3.4569999999999999</c:v>
                </c:pt>
                <c:pt idx="3">
                  <c:v>3.952</c:v>
                </c:pt>
                <c:pt idx="4">
                  <c:v>5.5679999999999996</c:v>
                </c:pt>
              </c:numCache>
            </c:numRef>
          </c:yVal>
          <c:bubbleSize>
            <c:numRef>
              <c:f>Sheet1!$C$2:$C$6</c:f>
              <c:numCache>
                <c:formatCode>General</c:formatCode>
                <c:ptCount val="5"/>
                <c:pt idx="0">
                  <c:v>68297582</c:v>
                </c:pt>
                <c:pt idx="1">
                  <c:v>1685690</c:v>
                </c:pt>
                <c:pt idx="2">
                  <c:v>1592038</c:v>
                </c:pt>
                <c:pt idx="3">
                  <c:v>1269767</c:v>
                </c:pt>
                <c:pt idx="4">
                  <c:v>989359</c:v>
                </c:pt>
              </c:numCache>
            </c:numRef>
          </c:bubbleSize>
          <c:bubble3D val="0"/>
          <c:extLst>
            <c:ext xmlns:c15="http://schemas.microsoft.com/office/drawing/2012/chart" uri="{02D57815-91ED-43cb-92C2-25804820EDAC}">
              <c15:datalabelsRange>
                <c15:f>Sheet1!$E$2:$E$10</c15:f>
                <c15:dlblRangeCache>
                  <c:ptCount val="9"/>
                  <c:pt idx="0">
                    <c:v>Banana Boat</c:v>
                  </c:pt>
                  <c:pt idx="1">
                    <c:v>Isdin</c:v>
                  </c:pt>
                  <c:pt idx="2">
                    <c:v>La Roche-Posay</c:v>
                  </c:pt>
                  <c:pt idx="3">
                    <c:v>Eclipsol</c:v>
                  </c:pt>
                  <c:pt idx="4">
                    <c:v>Muste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8"/>
          <c:min val="19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A028DE8-8CA8-4C08-9DA5-3467155ACD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71EC0C0E-1B12-47AF-9273-CB6915D241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F6637DB-BA16-4F3A-A6D7-C2702923E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5BCC07E-0041-4801-9318-F91E8976A6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8E82DEA-1A62-4801-BBD0-B8BFB22C63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EA61A67-51CE-4FE0-AEA7-365A543BD6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C9E7089-A454-4697-83FE-BFB7217701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9F518E2-D386-41BE-90BF-ED91F62AC1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4.0581</c:v>
                </c:pt>
              </c:numCache>
            </c:numRef>
          </c:xVal>
          <c:yVal>
            <c:numRef>
              <c:f>Sheet1!$B$2:$B$2</c:f>
              <c:numCache>
                <c:formatCode>General</c:formatCode>
                <c:ptCount val="1"/>
                <c:pt idx="0">
                  <c:v>1</c:v>
                </c:pt>
              </c:numCache>
            </c:numRef>
          </c:yVal>
          <c:bubbleSize>
            <c:numRef>
              <c:f>Sheet1!$C$2:$C$2</c:f>
              <c:numCache>
                <c:formatCode>General</c:formatCode>
                <c:ptCount val="1"/>
                <c:pt idx="0">
                  <c:v>2997001</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5"/>
          <c:min val="16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4B865CE-916F-4204-9C38-821FC23666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B0CDD95E-9477-4E54-B8EB-08A978C9FD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B186D5C8-0D8A-4AA1-A6EC-8D1C5B6D2B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906A8A85-7B9F-474E-84AB-A5F9B9280B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45A56270-5998-4589-A127-64B9284373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6E1E3858-3E43-4ED5-96B4-7E0C9026A3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AC1493D9-64B6-445F-BA8E-B1CE5F9741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F99F1605-3515-4076-8050-C0829B5D35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16.96550000000002</c:v>
                </c:pt>
                <c:pt idx="1">
                  <c:v>258.39229999999998</c:v>
                </c:pt>
                <c:pt idx="2">
                  <c:v>652.5068</c:v>
                </c:pt>
                <c:pt idx="3">
                  <c:v>301.11059999999998</c:v>
                </c:pt>
                <c:pt idx="4">
                  <c:v>657.21069999999997</c:v>
                </c:pt>
                <c:pt idx="5">
                  <c:v>692.55909999999994</c:v>
                </c:pt>
                <c:pt idx="6">
                  <c:v>245.6242</c:v>
                </c:pt>
                <c:pt idx="7">
                  <c:v>246.9444</c:v>
                </c:pt>
              </c:numCache>
            </c:numRef>
          </c:xVal>
          <c:yVal>
            <c:numRef>
              <c:f>Sheet1!$B$2:$B$9</c:f>
              <c:numCache>
                <c:formatCode>General</c:formatCode>
                <c:ptCount val="8"/>
                <c:pt idx="0">
                  <c:v>4.9809999999999999</c:v>
                </c:pt>
                <c:pt idx="1">
                  <c:v>1.0229999999999999</c:v>
                </c:pt>
                <c:pt idx="2">
                  <c:v>3.0009999999999999</c:v>
                </c:pt>
                <c:pt idx="3">
                  <c:v>1.331</c:v>
                </c:pt>
                <c:pt idx="4">
                  <c:v>4.7190000000000003</c:v>
                </c:pt>
                <c:pt idx="5">
                  <c:v>3.266</c:v>
                </c:pt>
                <c:pt idx="6">
                  <c:v>0.46600000000000003</c:v>
                </c:pt>
                <c:pt idx="7">
                  <c:v>0.44</c:v>
                </c:pt>
              </c:numCache>
            </c:numRef>
          </c:yVal>
          <c:bubbleSize>
            <c:numRef>
              <c:f>Sheet1!$C$2:$C$9</c:f>
              <c:numCache>
                <c:formatCode>General</c:formatCode>
                <c:ptCount val="8"/>
                <c:pt idx="0">
                  <c:v>328173180</c:v>
                </c:pt>
                <c:pt idx="1">
                  <c:v>313276882</c:v>
                </c:pt>
                <c:pt idx="2">
                  <c:v>160863816</c:v>
                </c:pt>
                <c:pt idx="3">
                  <c:v>160839713</c:v>
                </c:pt>
                <c:pt idx="4">
                  <c:v>106499686</c:v>
                </c:pt>
                <c:pt idx="5">
                  <c:v>104277234</c:v>
                </c:pt>
                <c:pt idx="6">
                  <c:v>103052369</c:v>
                </c:pt>
                <c:pt idx="7">
                  <c:v>95736634</c:v>
                </c:pt>
              </c:numCache>
            </c:numRef>
          </c:bubbleSize>
          <c:bubble3D val="0"/>
          <c:extLst>
            <c:ext xmlns:c15="http://schemas.microsoft.com/office/drawing/2012/chart" uri="{02D57815-91ED-43cb-92C2-25804820EDAC}">
              <c15:datalabelsRange>
                <c15:f>Sheet1!$E$2:$E$10</c15:f>
                <c15:dlblRangeCache>
                  <c:ptCount val="9"/>
                  <c:pt idx="0">
                    <c:v>Isdin</c:v>
                  </c:pt>
                  <c:pt idx="1">
                    <c:v>Nivea</c:v>
                  </c:pt>
                  <c:pt idx="2">
                    <c:v>Avene</c:v>
                  </c:pt>
                  <c:pt idx="3">
                    <c:v>Neutrogena</c:v>
                  </c:pt>
                  <c:pt idx="4">
                    <c:v>La Roche-Posay</c:v>
                  </c:pt>
                  <c:pt idx="5">
                    <c:v>Eucerin</c:v>
                  </c:pt>
                  <c:pt idx="6">
                    <c:v>Hawaiian Tropic</c:v>
                  </c:pt>
                  <c:pt idx="7">
                    <c:v>Banana Boa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1"/>
          <c:min val="19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7D43AB7-F207-47A8-ADA7-33207DED9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B35B2FF8-6468-4625-97BC-2B6BEF65C2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BDAF418-D7C2-4F27-B889-3E324161A7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92A66E2-EEE3-4C8D-A948-5B5DB9230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4D15CF0-F066-4966-B962-13ED1449A5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1A49A46-E256-4EF0-959C-4D4289CDEB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82C5147-40F6-4E1A-8350-20117A1B7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125E60E-F7C4-4ED1-B1D6-118F13D934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8.50640000000001</c:v>
                </c:pt>
              </c:numCache>
            </c:numRef>
          </c:xVal>
          <c:yVal>
            <c:numRef>
              <c:f>Sheet1!$B$2:$B$2</c:f>
              <c:numCache>
                <c:formatCode>General</c:formatCode>
                <c:ptCount val="1"/>
                <c:pt idx="0">
                  <c:v>1</c:v>
                </c:pt>
              </c:numCache>
            </c:numRef>
          </c:yVal>
          <c:bubbleSize>
            <c:numRef>
              <c:f>Sheet1!$C$2:$C$2</c:f>
              <c:numCache>
                <c:formatCode>General</c:formatCode>
                <c:ptCount val="1"/>
                <c:pt idx="0">
                  <c:v>9805641</c:v>
                </c:pt>
              </c:numCache>
            </c:numRef>
          </c:bubbleSize>
          <c:bubble3D val="0"/>
          <c:extLst>
            <c:ext xmlns:c15="http://schemas.microsoft.com/office/drawing/2012/chart" uri="{02D57815-91ED-43cb-92C2-25804820EDAC}">
              <c15:datalabelsRange>
                <c15:f>Sheet1!$E$2:$E$10</c15:f>
                <c15:dlblRangeCache>
                  <c:ptCount val="9"/>
                  <c:pt idx="0">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0"/>
          <c:min val="16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72917BE-B2ED-4350-A9CA-026DE417B6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2F06DFF-700B-4A0D-BB10-28BABEDDB9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9F23FBF-7592-4CF1-86B5-5B1C9E69C7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9FF24F1-2E01-4AEB-8057-E552F6CD7B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F0BAE88-BB17-45EE-8960-605CAA575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6C2EE1B-3990-4DC9-9BAA-80AB81DB3B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E00B5EB-1C18-4216-AD00-E5AF6A72C7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20351E7-C2D4-4D65-A74B-4E085A4640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52.4862</c:v>
                </c:pt>
                <c:pt idx="1">
                  <c:v>360.08690000000001</c:v>
                </c:pt>
                <c:pt idx="2">
                  <c:v>657.53</c:v>
                </c:pt>
                <c:pt idx="3">
                  <c:v>321.74520000000001</c:v>
                </c:pt>
                <c:pt idx="4">
                  <c:v>539.44320000000005</c:v>
                </c:pt>
                <c:pt idx="5">
                  <c:v>408.41359999999997</c:v>
                </c:pt>
              </c:numCache>
            </c:numRef>
          </c:xVal>
          <c:yVal>
            <c:numRef>
              <c:f>Sheet1!$B$2:$B$7</c:f>
              <c:numCache>
                <c:formatCode>General</c:formatCode>
                <c:ptCount val="6"/>
                <c:pt idx="0">
                  <c:v>0.46800000000000003</c:v>
                </c:pt>
                <c:pt idx="1">
                  <c:v>1.6890000000000001</c:v>
                </c:pt>
                <c:pt idx="2">
                  <c:v>2.121</c:v>
                </c:pt>
                <c:pt idx="3">
                  <c:v>1.8420000000000001</c:v>
                </c:pt>
                <c:pt idx="4">
                  <c:v>2.2389999999999999</c:v>
                </c:pt>
                <c:pt idx="5">
                  <c:v>2.1920000000000002</c:v>
                </c:pt>
              </c:numCache>
            </c:numRef>
          </c:yVal>
          <c:bubbleSize>
            <c:numRef>
              <c:f>Sheet1!$C$2:$C$7</c:f>
              <c:numCache>
                <c:formatCode>General</c:formatCode>
                <c:ptCount val="6"/>
                <c:pt idx="0">
                  <c:v>3012160</c:v>
                </c:pt>
                <c:pt idx="1">
                  <c:v>2739181</c:v>
                </c:pt>
                <c:pt idx="2">
                  <c:v>2693243</c:v>
                </c:pt>
                <c:pt idx="3">
                  <c:v>1190779</c:v>
                </c:pt>
                <c:pt idx="4">
                  <c:v>284826</c:v>
                </c:pt>
                <c:pt idx="5">
                  <c:v>191546</c:v>
                </c:pt>
              </c:numCache>
            </c:numRef>
          </c:bubbleSize>
          <c:bubble3D val="0"/>
          <c:extLst>
            <c:ext xmlns:c15="http://schemas.microsoft.com/office/drawing/2012/chart" uri="{02D57815-91ED-43cb-92C2-25804820EDAC}">
              <c15:datalabelsRange>
                <c15:f>Sheet1!$E$2:$E$10</c15:f>
                <c15:dlblRangeCache>
                  <c:ptCount val="9"/>
                  <c:pt idx="0">
                    <c:v>Banana Boat</c:v>
                  </c:pt>
                  <c:pt idx="1">
                    <c:v>Australian Gold</c:v>
                  </c:pt>
                  <c:pt idx="2">
                    <c:v>Photoderm</c:v>
                  </c:pt>
                  <c:pt idx="3">
                    <c:v>Ocean Potion</c:v>
                  </c:pt>
                  <c:pt idx="4">
                    <c:v>La Roche-Posay</c:v>
                  </c:pt>
                  <c:pt idx="5">
                    <c:v>Muste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9"/>
          <c:min val="20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0E89F6D-5154-47F9-99E9-7EA763BADE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861519A-9AF8-43B6-BBC1-9A4183E8E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68395901-2C7F-49C3-A7E7-0DC2B4C65B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B24C452-9C60-4558-A7BF-FB989F1908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E22989B-7845-4BF5-A83D-56F751A6DF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A4264E0-578B-4D11-9C5E-6C22A8B3ED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C8658FE-37B9-4D35-B023-167CC113C0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6DBF68F-DF14-4C09-8D79-DAA01030CA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428.661</c:v>
                </c:pt>
                <c:pt idx="1">
                  <c:v>351.09890000000001</c:v>
                </c:pt>
              </c:numCache>
            </c:numRef>
          </c:xVal>
          <c:yVal>
            <c:numRef>
              <c:f>Sheet1!$B$2:$B$3</c:f>
              <c:numCache>
                <c:formatCode>General</c:formatCode>
                <c:ptCount val="2"/>
                <c:pt idx="0">
                  <c:v>2.2709999999999999</c:v>
                </c:pt>
                <c:pt idx="1">
                  <c:v>0.318</c:v>
                </c:pt>
              </c:numCache>
            </c:numRef>
          </c:yVal>
          <c:bubbleSize>
            <c:numRef>
              <c:f>Sheet1!$C$2:$C$3</c:f>
              <c:numCache>
                <c:formatCode>General</c:formatCode>
                <c:ptCount val="2"/>
                <c:pt idx="0">
                  <c:v>4708412</c:v>
                </c:pt>
                <c:pt idx="1">
                  <c:v>2155747</c:v>
                </c:pt>
              </c:numCache>
            </c:numRef>
          </c:bubbleSize>
          <c:bubble3D val="0"/>
          <c:extLst>
            <c:ext xmlns:c15="http://schemas.microsoft.com/office/drawing/2012/chart" uri="{02D57815-91ED-43cb-92C2-25804820EDAC}">
              <c15:datalabelsRange>
                <c15:f>Sheet1!$E$2:$E$10</c15:f>
                <c15:dlblRangeCache>
                  <c:ptCount val="9"/>
                  <c:pt idx="0">
                    <c:v>Isdin</c:v>
                  </c:pt>
                  <c:pt idx="1">
                    <c:v>Neutrogen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14"/>
          <c:min val="28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71E5B5D-2941-430B-8E85-2769F71A4A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D6ADB3A-31C8-418D-A8F0-E98F61B8E9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8FAE0B8-F9A7-4AC2-BB53-F8B250909D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CB75390-25F3-4156-AFD6-057617869E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713284B-40C4-4CD8-AA5A-659F49DEF1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2E626A6-A10B-456C-9FE2-DF9606EEBC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1908636-66DB-4ECA-BB39-D868A0E654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E316F63-0279-4AB5-A9D2-6A7234116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4.6395</c:v>
                </c:pt>
                <c:pt idx="1">
                  <c:v>215.3323</c:v>
                </c:pt>
                <c:pt idx="2">
                  <c:v>613.25300000000004</c:v>
                </c:pt>
                <c:pt idx="3">
                  <c:v>473.81650000000002</c:v>
                </c:pt>
                <c:pt idx="4">
                  <c:v>668.79639999999995</c:v>
                </c:pt>
                <c:pt idx="5">
                  <c:v>300.41239999999999</c:v>
                </c:pt>
                <c:pt idx="6">
                  <c:v>684.904</c:v>
                </c:pt>
                <c:pt idx="7">
                  <c:v>625.82529999999997</c:v>
                </c:pt>
              </c:numCache>
            </c:numRef>
          </c:xVal>
          <c:yVal>
            <c:numRef>
              <c:f>Sheet1!$B$2:$B$9</c:f>
              <c:numCache>
                <c:formatCode>General</c:formatCode>
                <c:ptCount val="8"/>
                <c:pt idx="0">
                  <c:v>0.92800000000000005</c:v>
                </c:pt>
                <c:pt idx="1">
                  <c:v>0.505</c:v>
                </c:pt>
                <c:pt idx="2">
                  <c:v>2.8860000000000001</c:v>
                </c:pt>
                <c:pt idx="3">
                  <c:v>3.58</c:v>
                </c:pt>
                <c:pt idx="4">
                  <c:v>3.484</c:v>
                </c:pt>
                <c:pt idx="5">
                  <c:v>1.4259999999999999</c:v>
                </c:pt>
                <c:pt idx="6">
                  <c:v>3.335</c:v>
                </c:pt>
                <c:pt idx="7">
                  <c:v>5.0510000000000002</c:v>
                </c:pt>
              </c:numCache>
            </c:numRef>
          </c:yVal>
          <c:bubbleSize>
            <c:numRef>
              <c:f>Sheet1!$C$2:$C$9</c:f>
              <c:numCache>
                <c:formatCode>General</c:formatCode>
                <c:ptCount val="8"/>
                <c:pt idx="0">
                  <c:v>1061675102</c:v>
                </c:pt>
                <c:pt idx="1">
                  <c:v>729443109</c:v>
                </c:pt>
                <c:pt idx="2">
                  <c:v>629447145</c:v>
                </c:pt>
                <c:pt idx="3">
                  <c:v>515691034</c:v>
                </c:pt>
                <c:pt idx="4">
                  <c:v>254231596</c:v>
                </c:pt>
                <c:pt idx="5">
                  <c:v>163812487</c:v>
                </c:pt>
                <c:pt idx="6">
                  <c:v>117340498</c:v>
                </c:pt>
                <c:pt idx="7">
                  <c:v>116991163</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Isdin</c:v>
                  </c:pt>
                  <c:pt idx="3">
                    <c:v>L'Oreal</c:v>
                  </c:pt>
                  <c:pt idx="4">
                    <c:v>Pierre Fabre</c:v>
                  </c:pt>
                  <c:pt idx="5">
                    <c:v>J&amp;J</c:v>
                  </c:pt>
                  <c:pt idx="6">
                    <c:v>Bioderma</c:v>
                  </c:pt>
                  <c:pt idx="7">
                    <c:v>If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2"/>
          <c:min val="17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33AA86F-AB01-44B2-A951-3B7D1040E8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B5F4BC6-338F-4473-BBB7-9E6A4DAA1C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C5587C7-63BA-4AC3-85A7-4B14FE544C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73F628B-9310-4177-A140-C430046451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B6BD2EE-01BE-4E94-BD03-1B4D683C5E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59B9532-17CE-426D-8744-914EEC9F3E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6D75435-AFDE-4711-A302-BBBEF1D3DD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A2140E3-860C-4AF6-92D4-B9C21A07B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7.40600000000001</c:v>
                </c:pt>
                <c:pt idx="1">
                  <c:v>216.3296</c:v>
                </c:pt>
                <c:pt idx="2">
                  <c:v>612.90509999999995</c:v>
                </c:pt>
                <c:pt idx="3">
                  <c:v>474.70659999999998</c:v>
                </c:pt>
                <c:pt idx="4">
                  <c:v>682.46749999999997</c:v>
                </c:pt>
                <c:pt idx="5">
                  <c:v>300.99579999999997</c:v>
                </c:pt>
                <c:pt idx="6">
                  <c:v>708.92679999999996</c:v>
                </c:pt>
                <c:pt idx="7">
                  <c:v>630.8039</c:v>
                </c:pt>
              </c:numCache>
            </c:numRef>
          </c:xVal>
          <c:yVal>
            <c:numRef>
              <c:f>Sheet1!$B$2:$B$9</c:f>
              <c:numCache>
                <c:formatCode>General</c:formatCode>
                <c:ptCount val="8"/>
                <c:pt idx="0">
                  <c:v>0.92</c:v>
                </c:pt>
                <c:pt idx="1">
                  <c:v>0.502</c:v>
                </c:pt>
                <c:pt idx="2">
                  <c:v>2.7789999999999999</c:v>
                </c:pt>
                <c:pt idx="3">
                  <c:v>3.6150000000000002</c:v>
                </c:pt>
                <c:pt idx="4">
                  <c:v>3.4430000000000001</c:v>
                </c:pt>
                <c:pt idx="5">
                  <c:v>1.4159999999999999</c:v>
                </c:pt>
                <c:pt idx="6">
                  <c:v>3.6160000000000001</c:v>
                </c:pt>
                <c:pt idx="7">
                  <c:v>5.194</c:v>
                </c:pt>
              </c:numCache>
            </c:numRef>
          </c:yVal>
          <c:bubbleSize>
            <c:numRef>
              <c:f>Sheet1!$C$2:$C$9</c:f>
              <c:numCache>
                <c:formatCode>General</c:formatCode>
                <c:ptCount val="8"/>
                <c:pt idx="0">
                  <c:v>972587776</c:v>
                </c:pt>
                <c:pt idx="1">
                  <c:v>702844348</c:v>
                </c:pt>
                <c:pt idx="2">
                  <c:v>560154823</c:v>
                </c:pt>
                <c:pt idx="3">
                  <c:v>483564137</c:v>
                </c:pt>
                <c:pt idx="4">
                  <c:v>224598015</c:v>
                </c:pt>
                <c:pt idx="5">
                  <c:v>161084241</c:v>
                </c:pt>
                <c:pt idx="6">
                  <c:v>111973578</c:v>
                </c:pt>
                <c:pt idx="7">
                  <c:v>107053730</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Isdin</c:v>
                  </c:pt>
                  <c:pt idx="3">
                    <c:v>L'Oreal</c:v>
                  </c:pt>
                  <c:pt idx="4">
                    <c:v>Pierre Fabre</c:v>
                  </c:pt>
                  <c:pt idx="5">
                    <c:v>J&amp;J</c:v>
                  </c:pt>
                  <c:pt idx="6">
                    <c:v>Bioderma</c:v>
                  </c:pt>
                  <c:pt idx="7">
                    <c:v>If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1"/>
          <c:min val="17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33671C-FB34-4487-8B1A-02B3727275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0390B24-980D-467E-86C9-3A53D8D0EA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F361B38-E1C8-48B0-AB1C-7A7718F727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BB3201-CFE7-453E-86AB-3AA063622B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2DC1D32-2E09-4E06-B952-6E30966F9E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4C45ACF-CCD4-46E3-A7D7-1321443A18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48156B4-1F63-46C2-8297-ED776AFCA6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DD37D16-EEA2-4C5C-8228-10DB81D224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21.58029999999997</c:v>
                </c:pt>
                <c:pt idx="1">
                  <c:v>408.13959999999997</c:v>
                </c:pt>
                <c:pt idx="2">
                  <c:v>564.20489999999995</c:v>
                </c:pt>
                <c:pt idx="3">
                  <c:v>220.21690000000001</c:v>
                </c:pt>
                <c:pt idx="4">
                  <c:v>711.79629999999997</c:v>
                </c:pt>
                <c:pt idx="5">
                  <c:v>629.3922</c:v>
                </c:pt>
                <c:pt idx="6">
                  <c:v>742.15970000000004</c:v>
                </c:pt>
                <c:pt idx="7">
                  <c:v>322.41210000000001</c:v>
                </c:pt>
              </c:numCache>
            </c:numRef>
          </c:xVal>
          <c:yVal>
            <c:numRef>
              <c:f>Sheet1!$B$2:$B$9</c:f>
              <c:numCache>
                <c:formatCode>General</c:formatCode>
                <c:ptCount val="8"/>
                <c:pt idx="0">
                  <c:v>1.6619999999999999</c:v>
                </c:pt>
                <c:pt idx="1">
                  <c:v>0.89500000000000002</c:v>
                </c:pt>
                <c:pt idx="2">
                  <c:v>2.3959999999999999</c:v>
                </c:pt>
                <c:pt idx="3">
                  <c:v>0.30599999999999999</c:v>
                </c:pt>
                <c:pt idx="4">
                  <c:v>2.125</c:v>
                </c:pt>
                <c:pt idx="5">
                  <c:v>3.0310000000000001</c:v>
                </c:pt>
                <c:pt idx="6">
                  <c:v>2.1539999999999999</c:v>
                </c:pt>
                <c:pt idx="7">
                  <c:v>0.90300000000000002</c:v>
                </c:pt>
              </c:numCache>
            </c:numRef>
          </c:yVal>
          <c:bubbleSize>
            <c:numRef>
              <c:f>Sheet1!$C$2:$C$9</c:f>
              <c:numCache>
                <c:formatCode>General</c:formatCode>
                <c:ptCount val="8"/>
                <c:pt idx="0">
                  <c:v>452020654</c:v>
                </c:pt>
                <c:pt idx="1">
                  <c:v>393062086</c:v>
                </c:pt>
                <c:pt idx="2">
                  <c:v>368630038</c:v>
                </c:pt>
                <c:pt idx="3">
                  <c:v>204779692</c:v>
                </c:pt>
                <c:pt idx="4">
                  <c:v>196515563</c:v>
                </c:pt>
                <c:pt idx="5">
                  <c:v>105982088</c:v>
                </c:pt>
                <c:pt idx="6">
                  <c:v>99522130</c:v>
                </c:pt>
                <c:pt idx="7">
                  <c:v>58968533</c:v>
                </c:pt>
              </c:numCache>
            </c:numRef>
          </c:bubbleSize>
          <c:bubble3D val="0"/>
          <c:extLst>
            <c:ext xmlns:c15="http://schemas.microsoft.com/office/drawing/2012/chart" uri="{02D57815-91ED-43cb-92C2-25804820EDAC}">
              <c15:datalabelsRange>
                <c15:f>Sheet1!$E$2:$E$10</c15:f>
                <c15:dlblRangeCache>
                  <c:ptCount val="9"/>
                  <c:pt idx="0">
                    <c:v>Isdin</c:v>
                  </c:pt>
                  <c:pt idx="1">
                    <c:v>Beiersdorf</c:v>
                  </c:pt>
                  <c:pt idx="2">
                    <c:v>L'Oreal</c:v>
                  </c:pt>
                  <c:pt idx="3">
                    <c:v>Edgewell</c:v>
                  </c:pt>
                  <c:pt idx="4">
                    <c:v>Pierre Fabre</c:v>
                  </c:pt>
                  <c:pt idx="5">
                    <c:v>Ifc</c:v>
                  </c:pt>
                  <c:pt idx="6">
                    <c:v>Bioderma</c:v>
                  </c:pt>
                  <c:pt idx="7">
                    <c:v>J&amp;J</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1"/>
          <c:min val="17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1D25E0D-7009-4A94-8DF2-B7C21F2A47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83C669-3E6E-4AF9-9F7E-F9D1AD2E05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F03AC03-44D4-4050-9A8F-B7D3517C42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F7A79AD-2FAA-470E-9277-6F022FA7C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38636D1-B347-4AA4-8B23-81AB1A41BA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87E5FFA-40AC-4605-8E5B-139512BEA5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B888CFC-3976-4A6E-8611-5D7CB5A493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05D62EE-4AED-40CD-A652-37793F9D31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16.53360000000001</c:v>
                </c:pt>
                <c:pt idx="1">
                  <c:v>186.22190000000001</c:v>
                </c:pt>
                <c:pt idx="2">
                  <c:v>451.89089999999999</c:v>
                </c:pt>
                <c:pt idx="3">
                  <c:v>75.024699999999996</c:v>
                </c:pt>
                <c:pt idx="4">
                  <c:v>96.877300000000005</c:v>
                </c:pt>
                <c:pt idx="5">
                  <c:v>291.05380000000002</c:v>
                </c:pt>
              </c:numCache>
            </c:numRef>
          </c:xVal>
          <c:yVal>
            <c:numRef>
              <c:f>Sheet1!$B$2:$B$7</c:f>
              <c:numCache>
                <c:formatCode>General</c:formatCode>
                <c:ptCount val="6"/>
                <c:pt idx="0">
                  <c:v>1.331</c:v>
                </c:pt>
                <c:pt idx="1">
                  <c:v>0.79500000000000004</c:v>
                </c:pt>
                <c:pt idx="2">
                  <c:v>3.661</c:v>
                </c:pt>
                <c:pt idx="3">
                  <c:v>0.442</c:v>
                </c:pt>
                <c:pt idx="4">
                  <c:v>0.61699999999999999</c:v>
                </c:pt>
                <c:pt idx="5">
                  <c:v>1.7809999999999999</c:v>
                </c:pt>
              </c:numCache>
            </c:numRef>
          </c:yVal>
          <c:bubbleSize>
            <c:numRef>
              <c:f>Sheet1!$C$2:$C$7</c:f>
              <c:numCache>
                <c:formatCode>General</c:formatCode>
                <c:ptCount val="6"/>
                <c:pt idx="0">
                  <c:v>8719158</c:v>
                </c:pt>
                <c:pt idx="1">
                  <c:v>3445664</c:v>
                </c:pt>
                <c:pt idx="2">
                  <c:v>2920119</c:v>
                </c:pt>
                <c:pt idx="3">
                  <c:v>1470709</c:v>
                </c:pt>
                <c:pt idx="4">
                  <c:v>1076307</c:v>
                </c:pt>
                <c:pt idx="5">
                  <c:v>400490</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Isdin</c:v>
                  </c:pt>
                  <c:pt idx="3">
                    <c:v>Total Care De Mexico</c:v>
                  </c:pt>
                  <c:pt idx="4">
                    <c:v>Inds.Lavin De Mexico</c:v>
                  </c:pt>
                  <c:pt idx="5">
                    <c:v>Glaxosmithkli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2"/>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D9F42D4-6BED-4D05-8CBE-39C238CD1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42960D8-D49E-447A-90B9-6EBA7E529B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15C3DDB-4060-4E4F-A305-78BDC0EFA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7ED5FAB-D71E-43E8-96A5-3583AD6F02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F885D56-02D0-4CD5-8494-4F1BAD2B4F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D561CBE-C88B-462C-B182-ABC5B95216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48ADCCA-1289-4808-B948-2E6F9EC9E8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42F2C51-55E0-441B-ACEC-9967A6879E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1.45760000000001</c:v>
                </c:pt>
                <c:pt idx="1">
                  <c:v>214.76150000000001</c:v>
                </c:pt>
                <c:pt idx="2">
                  <c:v>313.97039999999998</c:v>
                </c:pt>
                <c:pt idx="3">
                  <c:v>577.1653</c:v>
                </c:pt>
                <c:pt idx="4">
                  <c:v>289.72449999999998</c:v>
                </c:pt>
                <c:pt idx="5">
                  <c:v>84.471800000000002</c:v>
                </c:pt>
                <c:pt idx="6">
                  <c:v>76.948499999999996</c:v>
                </c:pt>
                <c:pt idx="7">
                  <c:v>524.6259</c:v>
                </c:pt>
              </c:numCache>
            </c:numRef>
          </c:xVal>
          <c:yVal>
            <c:numRef>
              <c:f>Sheet1!$B$2:$B$9</c:f>
              <c:numCache>
                <c:formatCode>General</c:formatCode>
                <c:ptCount val="8"/>
                <c:pt idx="0">
                  <c:v>1.1000000000000001</c:v>
                </c:pt>
                <c:pt idx="1">
                  <c:v>0.75</c:v>
                </c:pt>
                <c:pt idx="2">
                  <c:v>4.2450000000000001</c:v>
                </c:pt>
                <c:pt idx="3">
                  <c:v>4.18</c:v>
                </c:pt>
                <c:pt idx="4">
                  <c:v>2.0569999999999999</c:v>
                </c:pt>
                <c:pt idx="5">
                  <c:v>0.41599999999999998</c:v>
                </c:pt>
                <c:pt idx="6">
                  <c:v>0.39400000000000002</c:v>
                </c:pt>
                <c:pt idx="7">
                  <c:v>4.4249999999999998</c:v>
                </c:pt>
              </c:numCache>
            </c:numRef>
          </c:yVal>
          <c:bubbleSize>
            <c:numRef>
              <c:f>Sheet1!$C$2:$C$9</c:f>
              <c:numCache>
                <c:formatCode>General</c:formatCode>
                <c:ptCount val="8"/>
                <c:pt idx="0">
                  <c:v>577505827</c:v>
                </c:pt>
                <c:pt idx="1">
                  <c:v>497073406</c:v>
                </c:pt>
                <c:pt idx="2">
                  <c:v>114932306</c:v>
                </c:pt>
                <c:pt idx="3">
                  <c:v>108131910</c:v>
                </c:pt>
                <c:pt idx="4">
                  <c:v>102115148</c:v>
                </c:pt>
                <c:pt idx="5">
                  <c:v>62397486</c:v>
                </c:pt>
                <c:pt idx="6">
                  <c:v>32893004</c:v>
                </c:pt>
                <c:pt idx="7">
                  <c:v>28081649</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L'Oreal</c:v>
                  </c:pt>
                  <c:pt idx="3">
                    <c:v>Isdin</c:v>
                  </c:pt>
                  <c:pt idx="4">
                    <c:v>J&amp;J</c:v>
                  </c:pt>
                  <c:pt idx="5">
                    <c:v>Total Care De Mexico</c:v>
                  </c:pt>
                  <c:pt idx="6">
                    <c:v>Inds.Lavin De Mexico</c:v>
                  </c:pt>
                  <c:pt idx="7">
                    <c:v>Pierre Fab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
          <c:min val="6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043F3AA-92B2-4133-A315-B055CB45A1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971387E-69BB-458D-8B8C-E924E1B06C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0E36578-6757-4EF4-93A7-C56AC06253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5612566-8156-4846-9553-BABBA2BD4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F7907A0-03AC-476E-8114-7C17B3C4D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8B77FEB-9C05-4054-B369-B702A421C4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A60CBEC-E73B-4E69-BE81-2DC842DDB2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0EDC3BC-842B-469E-A2FF-4B61931830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7.15730000000002</c:v>
                </c:pt>
                <c:pt idx="1">
                  <c:v>218.5891</c:v>
                </c:pt>
                <c:pt idx="2">
                  <c:v>613.25300000000004</c:v>
                </c:pt>
                <c:pt idx="3">
                  <c:v>495.7987</c:v>
                </c:pt>
                <c:pt idx="4">
                  <c:v>667.59280000000001</c:v>
                </c:pt>
                <c:pt idx="5">
                  <c:v>301.56990000000002</c:v>
                </c:pt>
                <c:pt idx="6">
                  <c:v>625.82529999999997</c:v>
                </c:pt>
                <c:pt idx="7">
                  <c:v>691.79600000000005</c:v>
                </c:pt>
              </c:numCache>
            </c:numRef>
          </c:xVal>
          <c:yVal>
            <c:numRef>
              <c:f>Sheet1!$B$2:$B$9</c:f>
              <c:numCache>
                <c:formatCode>General</c:formatCode>
                <c:ptCount val="8"/>
                <c:pt idx="0">
                  <c:v>0.90700000000000003</c:v>
                </c:pt>
                <c:pt idx="1">
                  <c:v>0.51200000000000001</c:v>
                </c:pt>
                <c:pt idx="2">
                  <c:v>2.7679999999999998</c:v>
                </c:pt>
                <c:pt idx="3">
                  <c:v>3.4550000000000001</c:v>
                </c:pt>
                <c:pt idx="4">
                  <c:v>3.2250000000000001</c:v>
                </c:pt>
                <c:pt idx="5">
                  <c:v>1.3660000000000001</c:v>
                </c:pt>
                <c:pt idx="6">
                  <c:v>4.8449999999999998</c:v>
                </c:pt>
                <c:pt idx="7">
                  <c:v>3.19</c:v>
                </c:pt>
              </c:numCache>
            </c:numRef>
          </c:yVal>
          <c:bubbleSize>
            <c:numRef>
              <c:f>Sheet1!$C$2:$C$9</c:f>
              <c:numCache>
                <c:formatCode>General</c:formatCode>
                <c:ptCount val="8"/>
                <c:pt idx="0">
                  <c:v>1041462305</c:v>
                </c:pt>
                <c:pt idx="1">
                  <c:v>665216662</c:v>
                </c:pt>
                <c:pt idx="2">
                  <c:v>629447145</c:v>
                </c:pt>
                <c:pt idx="3">
                  <c:v>487813340</c:v>
                </c:pt>
                <c:pt idx="4">
                  <c:v>228963641</c:v>
                </c:pt>
                <c:pt idx="5">
                  <c:v>163043442</c:v>
                </c:pt>
                <c:pt idx="6">
                  <c:v>116991163</c:v>
                </c:pt>
                <c:pt idx="7">
                  <c:v>116050165</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Isdin</c:v>
                  </c:pt>
                  <c:pt idx="3">
                    <c:v>L'Oreal</c:v>
                  </c:pt>
                  <c:pt idx="4">
                    <c:v>Pierre Fabre</c:v>
                  </c:pt>
                  <c:pt idx="5">
                    <c:v>J&amp;J</c:v>
                  </c:pt>
                  <c:pt idx="6">
                    <c:v>Ifc</c:v>
                  </c:pt>
                  <c:pt idx="7">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0"/>
          <c:min val="17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B69DE42-444F-47BF-8679-BA681EEA27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558B85C-D1C7-4666-BDF7-0490FD340C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F0D8900-BABE-4265-8FA6-F209BE62BE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500D12D-A307-4D24-9BAB-83C4898871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9EC555D-5B8A-4444-807D-C6DE0ECAA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5E2904F-2A59-4CC0-A42B-FDBEBAC885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30DC01A-6184-40BF-A539-4E9674A2C6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6A358EF-9639-401E-83A2-2ABE8E889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9.59390000000002</c:v>
                </c:pt>
                <c:pt idx="1">
                  <c:v>219.70050000000001</c:v>
                </c:pt>
                <c:pt idx="2">
                  <c:v>612.90509999999995</c:v>
                </c:pt>
                <c:pt idx="3">
                  <c:v>495.9083</c:v>
                </c:pt>
                <c:pt idx="4">
                  <c:v>679.53219999999999</c:v>
                </c:pt>
                <c:pt idx="5">
                  <c:v>302.15910000000002</c:v>
                </c:pt>
                <c:pt idx="6">
                  <c:v>716.47730000000001</c:v>
                </c:pt>
                <c:pt idx="7">
                  <c:v>630.8039</c:v>
                </c:pt>
              </c:numCache>
            </c:numRef>
          </c:xVal>
          <c:yVal>
            <c:numRef>
              <c:f>Sheet1!$B$2:$B$9</c:f>
              <c:numCache>
                <c:formatCode>General</c:formatCode>
                <c:ptCount val="8"/>
                <c:pt idx="0">
                  <c:v>0.89600000000000002</c:v>
                </c:pt>
                <c:pt idx="1">
                  <c:v>0.51</c:v>
                </c:pt>
                <c:pt idx="2">
                  <c:v>2.6619999999999999</c:v>
                </c:pt>
                <c:pt idx="3">
                  <c:v>3.456</c:v>
                </c:pt>
                <c:pt idx="4">
                  <c:v>3.1320000000000001</c:v>
                </c:pt>
                <c:pt idx="5">
                  <c:v>1.3540000000000001</c:v>
                </c:pt>
                <c:pt idx="6">
                  <c:v>3.4460000000000002</c:v>
                </c:pt>
                <c:pt idx="7">
                  <c:v>4.9749999999999996</c:v>
                </c:pt>
              </c:numCache>
            </c:numRef>
          </c:yVal>
          <c:bubbleSize>
            <c:numRef>
              <c:f>Sheet1!$C$2:$C$9</c:f>
              <c:numCache>
                <c:formatCode>General</c:formatCode>
                <c:ptCount val="8"/>
                <c:pt idx="0">
                  <c:v>953866264</c:v>
                </c:pt>
                <c:pt idx="1">
                  <c:v>640243845</c:v>
                </c:pt>
                <c:pt idx="2">
                  <c:v>560154823</c:v>
                </c:pt>
                <c:pt idx="3">
                  <c:v>456076453</c:v>
                </c:pt>
                <c:pt idx="4">
                  <c:v>200006715</c:v>
                </c:pt>
                <c:pt idx="5">
                  <c:v>160315326</c:v>
                </c:pt>
                <c:pt idx="6">
                  <c:v>110692153</c:v>
                </c:pt>
                <c:pt idx="7">
                  <c:v>107053730</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Isdin</c:v>
                  </c:pt>
                  <c:pt idx="3">
                    <c:v>L'Oreal</c:v>
                  </c:pt>
                  <c:pt idx="4">
                    <c:v>Pierre Fabre</c:v>
                  </c:pt>
                  <c:pt idx="5">
                    <c:v>J&amp;J</c:v>
                  </c:pt>
                  <c:pt idx="6">
                    <c:v>Bioderma</c:v>
                  </c:pt>
                  <c:pt idx="7">
                    <c:v>If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60"/>
          <c:min val="17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0918ECBB-B99B-4CAB-807B-2B542B1976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AEC02386-47B3-4184-8892-E6CD80DF1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E24FE849-F2D9-4370-98F5-708ED76A34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86225053-9B09-40C8-924B-DF3A19740F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C0E9DE25-4260-4FA1-8A78-4D00584D1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FFD3027B-749A-4A99-A8C9-39DB31C031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B938CD01-8428-4D1E-A14A-5B01363A5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55F990ED-DE6D-4D34-829B-B5ECAE7AA9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8.1935</c:v>
                </c:pt>
              </c:numCache>
            </c:numRef>
          </c:xVal>
          <c:yVal>
            <c:numRef>
              <c:f>Sheet1!$B$2:$B$2</c:f>
              <c:numCache>
                <c:formatCode>General</c:formatCode>
                <c:ptCount val="1"/>
                <c:pt idx="0">
                  <c:v>0.183</c:v>
                </c:pt>
              </c:numCache>
            </c:numRef>
          </c:yVal>
          <c:bubbleSize>
            <c:numRef>
              <c:f>Sheet1!$C$2:$C$2</c:f>
              <c:numCache>
                <c:formatCode>General</c:formatCode>
                <c:ptCount val="1"/>
                <c:pt idx="0">
                  <c:v>14208</c:v>
                </c:pt>
              </c:numCache>
            </c:numRef>
          </c:bubbleSize>
          <c:bubble3D val="0"/>
          <c:extLst>
            <c:ext xmlns:c15="http://schemas.microsoft.com/office/drawing/2012/chart" uri="{02D57815-91ED-43cb-92C2-25804820EDAC}">
              <c15:datalabelsRange>
                <c15:f>Sheet1!$E$2:$E$10</c15:f>
                <c15:dlblRangeCache>
                  <c:ptCount val="9"/>
                  <c:pt idx="0">
                    <c:v>Hawaiian Tropic</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3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322248B-FE58-4F43-8B52-E0F6947372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52D13F-A5DA-496C-8ECA-B2D81CB86D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51682D5-3D93-42CF-91A5-B512486561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8FAD2EA-9216-4672-BD8F-BB689792FA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34B4C2D-32C8-431B-B125-EFBDE6B6A4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5BF7007-E4B2-4D08-84BB-AA06ACBD52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EB2D754-4647-4556-BA05-851B08960F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F139DC3-9165-40D2-B8C0-6DA103244B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21.58029999999997</c:v>
                </c:pt>
                <c:pt idx="1">
                  <c:v>407.97160000000002</c:v>
                </c:pt>
                <c:pt idx="2">
                  <c:v>597.60749999999996</c:v>
                </c:pt>
                <c:pt idx="3">
                  <c:v>702.84950000000003</c:v>
                </c:pt>
                <c:pt idx="4">
                  <c:v>227.01660000000001</c:v>
                </c:pt>
                <c:pt idx="5">
                  <c:v>629.3922</c:v>
                </c:pt>
                <c:pt idx="6">
                  <c:v>743.65520000000004</c:v>
                </c:pt>
                <c:pt idx="7">
                  <c:v>322.41210000000001</c:v>
                </c:pt>
              </c:numCache>
            </c:numRef>
          </c:xVal>
          <c:yVal>
            <c:numRef>
              <c:f>Sheet1!$B$2:$B$9</c:f>
              <c:numCache>
                <c:formatCode>General</c:formatCode>
                <c:ptCount val="8"/>
                <c:pt idx="0">
                  <c:v>1.554</c:v>
                </c:pt>
                <c:pt idx="1">
                  <c:v>0.83499999999999996</c:v>
                </c:pt>
                <c:pt idx="2">
                  <c:v>2.2280000000000002</c:v>
                </c:pt>
                <c:pt idx="3">
                  <c:v>1.877</c:v>
                </c:pt>
                <c:pt idx="4">
                  <c:v>0.315</c:v>
                </c:pt>
                <c:pt idx="5">
                  <c:v>2.8340000000000001</c:v>
                </c:pt>
                <c:pt idx="6">
                  <c:v>2.0049999999999999</c:v>
                </c:pt>
                <c:pt idx="7">
                  <c:v>0.84399999999999997</c:v>
                </c:pt>
              </c:numCache>
            </c:numRef>
          </c:yVal>
          <c:bubbleSize>
            <c:numRef>
              <c:f>Sheet1!$C$2:$C$9</c:f>
              <c:numCache>
                <c:formatCode>General</c:formatCode>
                <c:ptCount val="8"/>
                <c:pt idx="0">
                  <c:v>452020654</c:v>
                </c:pt>
                <c:pt idx="1">
                  <c:v>389186527</c:v>
                </c:pt>
                <c:pt idx="2">
                  <c:v>350547019</c:v>
                </c:pt>
                <c:pt idx="3">
                  <c:v>176225446</c:v>
                </c:pt>
                <c:pt idx="4">
                  <c:v>175059296</c:v>
                </c:pt>
                <c:pt idx="5">
                  <c:v>105982088</c:v>
                </c:pt>
                <c:pt idx="6">
                  <c:v>98950018</c:v>
                </c:pt>
                <c:pt idx="7">
                  <c:v>58968533</c:v>
                </c:pt>
              </c:numCache>
            </c:numRef>
          </c:bubbleSize>
          <c:bubble3D val="0"/>
          <c:extLst>
            <c:ext xmlns:c15="http://schemas.microsoft.com/office/drawing/2012/chart" uri="{02D57815-91ED-43cb-92C2-25804820EDAC}">
              <c15:datalabelsRange>
                <c15:f>Sheet1!$E$2:$E$10</c15:f>
                <c15:dlblRangeCache>
                  <c:ptCount val="9"/>
                  <c:pt idx="0">
                    <c:v>Isdin</c:v>
                  </c:pt>
                  <c:pt idx="1">
                    <c:v>Beiersdorf</c:v>
                  </c:pt>
                  <c:pt idx="2">
                    <c:v>L'Oreal</c:v>
                  </c:pt>
                  <c:pt idx="3">
                    <c:v>Pierre Fabre</c:v>
                  </c:pt>
                  <c:pt idx="4">
                    <c:v>Edgewell</c:v>
                  </c:pt>
                  <c:pt idx="5">
                    <c:v>Ifc</c:v>
                  </c:pt>
                  <c:pt idx="6">
                    <c:v>Bioderma</c:v>
                  </c:pt>
                  <c:pt idx="7">
                    <c:v>J&amp;J</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2"/>
          <c:min val="18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6AB5445-B9D6-408C-9E08-1A4EADC488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5C8D7D5-E2D4-4DB8-A31B-25505A9E48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AFF07D3-5FF6-465E-B080-09F77AD5D5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DE48DB7-1CB8-4F2E-81D5-3BFB94CA4E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9527FB8-5898-4A67-81EE-F66DAF2DFD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5FF7972-14E7-400C-877C-0EE6CAF280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86990B5-4EF1-4675-9E3D-FA7519A678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4BFD0D6-E9E6-4F05-9758-BB56A5E83F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16.9864</c:v>
                </c:pt>
                <c:pt idx="1">
                  <c:v>196.50540000000001</c:v>
                </c:pt>
                <c:pt idx="2">
                  <c:v>451.89089999999999</c:v>
                </c:pt>
                <c:pt idx="3">
                  <c:v>75.024699999999996</c:v>
                </c:pt>
                <c:pt idx="4">
                  <c:v>96.877300000000005</c:v>
                </c:pt>
                <c:pt idx="5">
                  <c:v>291.05380000000002</c:v>
                </c:pt>
              </c:numCache>
            </c:numRef>
          </c:xVal>
          <c:yVal>
            <c:numRef>
              <c:f>Sheet1!$B$2:$B$7</c:f>
              <c:numCache>
                <c:formatCode>General</c:formatCode>
                <c:ptCount val="6"/>
                <c:pt idx="0">
                  <c:v>1.3089999999999999</c:v>
                </c:pt>
                <c:pt idx="1">
                  <c:v>0.85499999999999998</c:v>
                </c:pt>
                <c:pt idx="2">
                  <c:v>3.5779999999999998</c:v>
                </c:pt>
                <c:pt idx="3">
                  <c:v>0.432</c:v>
                </c:pt>
                <c:pt idx="4">
                  <c:v>0.60299999999999998</c:v>
                </c:pt>
                <c:pt idx="5">
                  <c:v>1.7410000000000001</c:v>
                </c:pt>
              </c:numCache>
            </c:numRef>
          </c:yVal>
          <c:bubbleSize>
            <c:numRef>
              <c:f>Sheet1!$C$2:$C$7</c:f>
              <c:numCache>
                <c:formatCode>General</c:formatCode>
                <c:ptCount val="6"/>
                <c:pt idx="0">
                  <c:v>8685096</c:v>
                </c:pt>
                <c:pt idx="1">
                  <c:v>3097908</c:v>
                </c:pt>
                <c:pt idx="2">
                  <c:v>2920119</c:v>
                </c:pt>
                <c:pt idx="3">
                  <c:v>1470709</c:v>
                </c:pt>
                <c:pt idx="4">
                  <c:v>1076307</c:v>
                </c:pt>
                <c:pt idx="5">
                  <c:v>400490</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Isdin</c:v>
                  </c:pt>
                  <c:pt idx="3">
                    <c:v>Total Care De Mexico</c:v>
                  </c:pt>
                  <c:pt idx="4">
                    <c:v>Inds.Lavin De Mexico</c:v>
                  </c:pt>
                  <c:pt idx="5">
                    <c:v>Glaxosmithkli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2"/>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4477420-E5A9-4EA2-A191-1D71CC68BB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F462EDE-23E1-4238-9A9E-75ABD5E1BD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58E6C8A-C1CF-4559-A7D0-735DCCFE13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7E7AB72-4137-432C-81BA-1482EE29E1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BAD9E38-1B8A-48A4-A87C-C48BBF1554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75AF3A8-9497-498B-8DBD-D5A65AAF56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4061364-CBE5-41E0-9D2B-1940A152AA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8D95E26-EFBD-48A3-8CE1-0BA53FB38D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3.52289999999999</c:v>
                </c:pt>
                <c:pt idx="1">
                  <c:v>217.06989999999999</c:v>
                </c:pt>
                <c:pt idx="2">
                  <c:v>577.1653</c:v>
                </c:pt>
                <c:pt idx="3">
                  <c:v>316.23989999999998</c:v>
                </c:pt>
                <c:pt idx="4">
                  <c:v>291.35789999999997</c:v>
                </c:pt>
                <c:pt idx="5">
                  <c:v>84.778300000000002</c:v>
                </c:pt>
                <c:pt idx="6">
                  <c:v>76.948599999999999</c:v>
                </c:pt>
                <c:pt idx="7">
                  <c:v>539.33180000000004</c:v>
                </c:pt>
              </c:numCache>
            </c:numRef>
          </c:xVal>
          <c:yVal>
            <c:numRef>
              <c:f>Sheet1!$B$2:$B$9</c:f>
              <c:numCache>
                <c:formatCode>General</c:formatCode>
                <c:ptCount val="8"/>
                <c:pt idx="0">
                  <c:v>1.0900000000000001</c:v>
                </c:pt>
                <c:pt idx="1">
                  <c:v>0.76400000000000001</c:v>
                </c:pt>
                <c:pt idx="2">
                  <c:v>4.0640000000000001</c:v>
                </c:pt>
                <c:pt idx="3">
                  <c:v>4.1189999999999998</c:v>
                </c:pt>
                <c:pt idx="4">
                  <c:v>1.9950000000000001</c:v>
                </c:pt>
                <c:pt idx="5">
                  <c:v>0.40899999999999997</c:v>
                </c:pt>
                <c:pt idx="6">
                  <c:v>0.38300000000000001</c:v>
                </c:pt>
                <c:pt idx="7">
                  <c:v>4.1369999999999996</c:v>
                </c:pt>
              </c:numCache>
            </c:numRef>
          </c:yVal>
          <c:bubbleSize>
            <c:numRef>
              <c:f>Sheet1!$C$2:$C$9</c:f>
              <c:numCache>
                <c:formatCode>General</c:formatCode>
                <c:ptCount val="8"/>
                <c:pt idx="0">
                  <c:v>562660025</c:v>
                </c:pt>
                <c:pt idx="1">
                  <c:v>464227988</c:v>
                </c:pt>
                <c:pt idx="2">
                  <c:v>108131910</c:v>
                </c:pt>
                <c:pt idx="3">
                  <c:v>105528003</c:v>
                </c:pt>
                <c:pt idx="4">
                  <c:v>101346207</c:v>
                </c:pt>
                <c:pt idx="5">
                  <c:v>61997244</c:v>
                </c:pt>
                <c:pt idx="6">
                  <c:v>32892975</c:v>
                </c:pt>
                <c:pt idx="7">
                  <c:v>23780757</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Isdin</c:v>
                  </c:pt>
                  <c:pt idx="3">
                    <c:v>L'Oreal</c:v>
                  </c:pt>
                  <c:pt idx="4">
                    <c:v>J&amp;J</c:v>
                  </c:pt>
                  <c:pt idx="5">
                    <c:v>Total Care De Mexico</c:v>
                  </c:pt>
                  <c:pt idx="6">
                    <c:v>Inds.Lavin De Mexico</c:v>
                  </c:pt>
                  <c:pt idx="7">
                    <c:v>Pierre Fab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
          <c:min val="6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010B947-7F8B-481C-98CA-6B04715F0E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F1C302B-DD2F-4841-ABC1-BCECB86DDA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8DAE003-A9DB-4EBC-B9C8-FE9F427C6D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46DBCDC-54D6-4B78-A879-4E3673B6ED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23D23B1-62A7-41BF-9037-374FAA0100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F928671-C64A-4C1D-96C7-06403BF9FD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4716DD6-F904-491C-85A4-2F786E2079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B4FE435-5B03-4383-9641-68207CF2C1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561.15350000000001</c:v>
                </c:pt>
                <c:pt idx="1">
                  <c:v>632.50260000000003</c:v>
                </c:pt>
                <c:pt idx="2">
                  <c:v>678.15869999999995</c:v>
                </c:pt>
              </c:numCache>
            </c:numRef>
          </c:xVal>
          <c:yVal>
            <c:numRef>
              <c:f>Sheet1!$B$2:$B$4</c:f>
              <c:numCache>
                <c:formatCode>General</c:formatCode>
                <c:ptCount val="3"/>
                <c:pt idx="0">
                  <c:v>1.7989999999999999</c:v>
                </c:pt>
                <c:pt idx="1">
                  <c:v>0.874</c:v>
                </c:pt>
                <c:pt idx="2">
                  <c:v>0.93500000000000005</c:v>
                </c:pt>
              </c:numCache>
            </c:numRef>
          </c:yVal>
          <c:bubbleSize>
            <c:numRef>
              <c:f>Sheet1!$C$2:$C$4</c:f>
              <c:numCache>
                <c:formatCode>General</c:formatCode>
                <c:ptCount val="3"/>
                <c:pt idx="0">
                  <c:v>32972821</c:v>
                </c:pt>
                <c:pt idx="1">
                  <c:v>29936346</c:v>
                </c:pt>
                <c:pt idx="2">
                  <c:v>3764459</c:v>
                </c:pt>
              </c:numCache>
            </c:numRef>
          </c:bubbleSize>
          <c:bubble3D val="0"/>
          <c:extLst>
            <c:ext xmlns:c15="http://schemas.microsoft.com/office/drawing/2012/chart" uri="{02D57815-91ED-43cb-92C2-25804820EDAC}">
              <c15:datalabelsRange>
                <c15:f>Sheet1!$E$2:$E$10</c15:f>
                <c15:dlblRangeCache>
                  <c:ptCount val="9"/>
                  <c:pt idx="0">
                    <c:v>L'Oreal</c:v>
                  </c:pt>
                  <c:pt idx="1">
                    <c:v>Isdin</c:v>
                  </c:pt>
                  <c:pt idx="2">
                    <c:v>If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4"/>
          <c:min val="44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E2E232-96F5-4AD4-A7D8-6134FD6311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2B4AF52-2566-46CB-A19E-ADF8C3C4F2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551E4C8-AC79-4EF7-B2A1-59B18321CE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A851CCC-268D-44C3-9CEC-48A9899C0D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12128E6-0F4E-4252-9A40-2FE61115BB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5785535-DC09-4CAE-B8E2-92BA592A13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BD89EFD-D5B2-40E7-B6BF-5F365BFC1A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A60466E-D430-479A-8CB3-406258E019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306.35469999999998</c:v>
                </c:pt>
                <c:pt idx="1">
                  <c:v>616.96550000000002</c:v>
                </c:pt>
                <c:pt idx="2">
                  <c:v>246.25749999999999</c:v>
                </c:pt>
                <c:pt idx="3">
                  <c:v>487.61439999999999</c:v>
                </c:pt>
                <c:pt idx="4">
                  <c:v>652.45590000000004</c:v>
                </c:pt>
                <c:pt idx="5">
                  <c:v>301.11059999999998</c:v>
                </c:pt>
                <c:pt idx="6">
                  <c:v>80.765900000000002</c:v>
                </c:pt>
                <c:pt idx="7">
                  <c:v>624.06190000000004</c:v>
                </c:pt>
              </c:numCache>
            </c:numRef>
          </c:xVal>
          <c:yVal>
            <c:numRef>
              <c:f>Sheet1!$B$2:$B$9</c:f>
              <c:numCache>
                <c:formatCode>General</c:formatCode>
                <c:ptCount val="8"/>
                <c:pt idx="0">
                  <c:v>1.2350000000000001</c:v>
                </c:pt>
                <c:pt idx="1">
                  <c:v>4.9809999999999999</c:v>
                </c:pt>
                <c:pt idx="2">
                  <c:v>0.45300000000000001</c:v>
                </c:pt>
                <c:pt idx="3">
                  <c:v>3.0209999999999999</c:v>
                </c:pt>
                <c:pt idx="4">
                  <c:v>3.0009999999999999</c:v>
                </c:pt>
                <c:pt idx="5">
                  <c:v>1.331</c:v>
                </c:pt>
                <c:pt idx="6">
                  <c:v>0.26200000000000001</c:v>
                </c:pt>
                <c:pt idx="7">
                  <c:v>5.0519999999999996</c:v>
                </c:pt>
              </c:numCache>
            </c:numRef>
          </c:yVal>
          <c:bubbleSize>
            <c:numRef>
              <c:f>Sheet1!$C$2:$C$9</c:f>
              <c:numCache>
                <c:formatCode>General</c:formatCode>
                <c:ptCount val="8"/>
                <c:pt idx="0">
                  <c:v>417554116</c:v>
                </c:pt>
                <c:pt idx="1">
                  <c:v>328173180</c:v>
                </c:pt>
                <c:pt idx="2">
                  <c:v>198789393</c:v>
                </c:pt>
                <c:pt idx="3">
                  <c:v>182529692</c:v>
                </c:pt>
                <c:pt idx="4">
                  <c:v>160915842</c:v>
                </c:pt>
                <c:pt idx="5">
                  <c:v>160839713</c:v>
                </c:pt>
                <c:pt idx="6">
                  <c:v>79357378</c:v>
                </c:pt>
                <c:pt idx="7">
                  <c:v>50723131</c:v>
                </c:pt>
              </c:numCache>
            </c:numRef>
          </c:bubbleSize>
          <c:bubble3D val="0"/>
          <c:extLst>
            <c:ext xmlns:c15="http://schemas.microsoft.com/office/drawing/2012/chart" uri="{02D57815-91ED-43cb-92C2-25804820EDAC}">
              <c15:datalabelsRange>
                <c15:f>Sheet1!$E$2:$E$10</c15:f>
                <c15:dlblRangeCache>
                  <c:ptCount val="9"/>
                  <c:pt idx="0">
                    <c:v>Beiersdorf</c:v>
                  </c:pt>
                  <c:pt idx="1">
                    <c:v>Isdin</c:v>
                  </c:pt>
                  <c:pt idx="2">
                    <c:v>Edgewell</c:v>
                  </c:pt>
                  <c:pt idx="3">
                    <c:v>L'Oreal</c:v>
                  </c:pt>
                  <c:pt idx="4">
                    <c:v>Pierre Fabre</c:v>
                  </c:pt>
                  <c:pt idx="5">
                    <c:v>J&amp;J</c:v>
                  </c:pt>
                  <c:pt idx="6">
                    <c:v>Total Care De Mexico</c:v>
                  </c:pt>
                  <c:pt idx="7">
                    <c:v>If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3"/>
          <c:min val="6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9B076AE-06D4-49FD-9A2B-F214BADF0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F1BC6481-E677-4A10-B304-E06DF8EB53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E259373-A870-4DF8-9F4F-79B387F29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7B67E7A-008A-413C-A15B-24F8010FA5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A12F553-C964-4348-9467-B2A4ACB54A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C6202B6-000C-4091-87A0-2FD927196D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09A2961-0146-43F9-A061-14B96018EF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FF5A7B4-A345-43FC-A8E7-0CA625BCC3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8.1935</c:v>
                </c:pt>
              </c:numCache>
            </c:numRef>
          </c:xVal>
          <c:yVal>
            <c:numRef>
              <c:f>Sheet1!$B$2:$B$2</c:f>
              <c:numCache>
                <c:formatCode>General</c:formatCode>
                <c:ptCount val="1"/>
                <c:pt idx="0">
                  <c:v>0.183</c:v>
                </c:pt>
              </c:numCache>
            </c:numRef>
          </c:yVal>
          <c:bubbleSize>
            <c:numRef>
              <c:f>Sheet1!$C$2:$C$2</c:f>
              <c:numCache>
                <c:formatCode>General</c:formatCode>
                <c:ptCount val="1"/>
                <c:pt idx="0">
                  <c:v>14208</c:v>
                </c:pt>
              </c:numCache>
            </c:numRef>
          </c:bubbleSize>
          <c:bubble3D val="0"/>
          <c:extLst>
            <c:ext xmlns:c15="http://schemas.microsoft.com/office/drawing/2012/chart" uri="{02D57815-91ED-43cb-92C2-25804820EDAC}">
              <c15:datalabelsRange>
                <c15:f>Sheet1!$E$2:$E$10</c15:f>
                <c15:dlblRangeCache>
                  <c:ptCount val="9"/>
                  <c:pt idx="0">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47B25A9-ED02-47BF-B618-552DB259E3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5258469-6212-4426-B3DF-8C6DE34F22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8294A90-8D9A-48B6-9770-D4251A1592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9C85F60-3570-4FCC-99F7-DDAA099D3F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87FBAB8-7CB9-40B6-A0C2-FD6EE7C526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357D6F3-C8A7-4447-91B4-0966E1018F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6250D9B-E4DA-455E-AEAE-C00BE8B3AE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441881A-507A-4B45-8044-F9E34EE66F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14.13599999999997</c:v>
                </c:pt>
                <c:pt idx="1">
                  <c:v>645.86260000000004</c:v>
                </c:pt>
                <c:pt idx="2">
                  <c:v>726.0145</c:v>
                </c:pt>
                <c:pt idx="3">
                  <c:v>383.79950000000002</c:v>
                </c:pt>
                <c:pt idx="4">
                  <c:v>646.51089999999999</c:v>
                </c:pt>
                <c:pt idx="5">
                  <c:v>581.06089999999995</c:v>
                </c:pt>
              </c:numCache>
            </c:numRef>
          </c:xVal>
          <c:yVal>
            <c:numRef>
              <c:f>Sheet1!$B$2:$B$7</c:f>
              <c:numCache>
                <c:formatCode>General</c:formatCode>
                <c:ptCount val="6"/>
                <c:pt idx="0">
                  <c:v>0.98499999999999999</c:v>
                </c:pt>
                <c:pt idx="1">
                  <c:v>1.04</c:v>
                </c:pt>
                <c:pt idx="2">
                  <c:v>1.2529999999999999</c:v>
                </c:pt>
                <c:pt idx="3">
                  <c:v>0.70499999999999996</c:v>
                </c:pt>
                <c:pt idx="4">
                  <c:v>1.04</c:v>
                </c:pt>
                <c:pt idx="5">
                  <c:v>1.2</c:v>
                </c:pt>
              </c:numCache>
            </c:numRef>
          </c:yVal>
          <c:bubbleSize>
            <c:numRef>
              <c:f>Sheet1!$C$2:$C$7</c:f>
              <c:numCache>
                <c:formatCode>General</c:formatCode>
                <c:ptCount val="6"/>
                <c:pt idx="0">
                  <c:v>147422120</c:v>
                </c:pt>
                <c:pt idx="1">
                  <c:v>96362699</c:v>
                </c:pt>
                <c:pt idx="2">
                  <c:v>58831861</c:v>
                </c:pt>
                <c:pt idx="3">
                  <c:v>38388398</c:v>
                </c:pt>
                <c:pt idx="4">
                  <c:v>26462337</c:v>
                </c:pt>
                <c:pt idx="5">
                  <c:v>18933868</c:v>
                </c:pt>
              </c:numCache>
            </c:numRef>
          </c:bubbleSize>
          <c:bubble3D val="0"/>
          <c:extLst>
            <c:ext xmlns:c15="http://schemas.microsoft.com/office/drawing/2012/chart" uri="{02D57815-91ED-43cb-92C2-25804820EDAC}">
              <c15:datalabelsRange>
                <c15:f>Sheet1!$E$2:$E$10</c15:f>
                <c15:dlblRangeCache>
                  <c:ptCount val="9"/>
                  <c:pt idx="0">
                    <c:v>L'Oreal</c:v>
                  </c:pt>
                  <c:pt idx="1">
                    <c:v>Isdin</c:v>
                  </c:pt>
                  <c:pt idx="2">
                    <c:v>Pierre Fabre</c:v>
                  </c:pt>
                  <c:pt idx="3">
                    <c:v>Beiersdorf</c:v>
                  </c:pt>
                  <c:pt idx="4">
                    <c:v>Ifc</c:v>
                  </c:pt>
                  <c:pt idx="5">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71"/>
          <c:min val="30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8B3326B-3AF9-4138-8E6D-C09ED77162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8462F86-8063-4902-B4D8-B8889E5015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EEE856F-2FA8-46F4-AAB6-AE336343D3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5623201-C717-417F-A708-6B447BFBDD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9562A4E-5123-44F7-BDD1-38E29974C0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CC7AED5-5A39-4B1A-A7FE-DE28F1CA0B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DB5416E-22E6-4D70-9230-41A32AEFFB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1C04739-30C9-4F22-8BFD-7C2D6E6272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57.65</c:v>
                </c:pt>
                <c:pt idx="1">
                  <c:v>627.3288</c:v>
                </c:pt>
                <c:pt idx="2">
                  <c:v>577.39689999999996</c:v>
                </c:pt>
                <c:pt idx="3">
                  <c:v>646.18470000000002</c:v>
                </c:pt>
                <c:pt idx="4">
                  <c:v>721.47519999999997</c:v>
                </c:pt>
                <c:pt idx="5">
                  <c:v>495.24310000000003</c:v>
                </c:pt>
              </c:numCache>
            </c:numRef>
          </c:xVal>
          <c:yVal>
            <c:numRef>
              <c:f>Sheet1!$B$2:$B$7</c:f>
              <c:numCache>
                <c:formatCode>General</c:formatCode>
                <c:ptCount val="6"/>
                <c:pt idx="0">
                  <c:v>0.78100000000000003</c:v>
                </c:pt>
                <c:pt idx="1">
                  <c:v>0.85199999999999998</c:v>
                </c:pt>
                <c:pt idx="2">
                  <c:v>3.8279999999999998</c:v>
                </c:pt>
                <c:pt idx="3">
                  <c:v>3.6280000000000001</c:v>
                </c:pt>
                <c:pt idx="4">
                  <c:v>6.1589999999999998</c:v>
                </c:pt>
                <c:pt idx="5">
                  <c:v>1.6559999999999999</c:v>
                </c:pt>
              </c:numCache>
            </c:numRef>
          </c:yVal>
          <c:bubbleSize>
            <c:numRef>
              <c:f>Sheet1!$C$2:$C$7</c:f>
              <c:numCache>
                <c:formatCode>General</c:formatCode>
                <c:ptCount val="6"/>
                <c:pt idx="0">
                  <c:v>221599254</c:v>
                </c:pt>
                <c:pt idx="1">
                  <c:v>112770510</c:v>
                </c:pt>
                <c:pt idx="2">
                  <c:v>61806296</c:v>
                </c:pt>
                <c:pt idx="3">
                  <c:v>23401579</c:v>
                </c:pt>
                <c:pt idx="4">
                  <c:v>13728230</c:v>
                </c:pt>
                <c:pt idx="5">
                  <c:v>6321283</c:v>
                </c:pt>
              </c:numCache>
            </c:numRef>
          </c:bubbleSize>
          <c:bubble3D val="0"/>
          <c:extLst>
            <c:ext xmlns:c15="http://schemas.microsoft.com/office/drawing/2012/chart" uri="{02D57815-91ED-43cb-92C2-25804820EDAC}">
              <c15:datalabelsRange>
                <c15:f>Sheet1!$E$2:$E$10</c15:f>
                <c15:dlblRangeCache>
                  <c:ptCount val="9"/>
                  <c:pt idx="0">
                    <c:v>Beiersdorf</c:v>
                  </c:pt>
                  <c:pt idx="1">
                    <c:v>Isdin</c:v>
                  </c:pt>
                  <c:pt idx="2">
                    <c:v>L'Oreal</c:v>
                  </c:pt>
                  <c:pt idx="3">
                    <c:v>Ifc</c:v>
                  </c:pt>
                  <c:pt idx="4">
                    <c:v>Bioderma</c:v>
                  </c:pt>
                  <c:pt idx="5">
                    <c:v>Gal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66"/>
          <c:min val="28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1C8AD43-C879-4D81-8B27-47CBEC293B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9F70C91-532A-4D31-85AF-DC0C0B605D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584F9F9-105E-4D41-A288-0F0F19399A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CFB7A60-A1E4-4790-960E-E54527F51C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BA2BC46-96F7-40F1-8331-C094F23118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9593232-BF5E-408B-B939-BDF869B9AE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6C791EA-43C4-4357-BDA9-8232DB082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41CB0C9-DD95-4CFE-8BC5-4DD488EFF3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678.49900000000002</c:v>
                </c:pt>
                <c:pt idx="1">
                  <c:v>788.79700000000003</c:v>
                </c:pt>
              </c:numCache>
            </c:numRef>
          </c:xVal>
          <c:yVal>
            <c:numRef>
              <c:f>Sheet1!$B$2:$B$3</c:f>
              <c:numCache>
                <c:formatCode>General</c:formatCode>
                <c:ptCount val="2"/>
                <c:pt idx="0">
                  <c:v>0.90100000000000002</c:v>
                </c:pt>
                <c:pt idx="1">
                  <c:v>2.1040000000000001</c:v>
                </c:pt>
              </c:numCache>
            </c:numRef>
          </c:yVal>
          <c:bubbleSize>
            <c:numRef>
              <c:f>Sheet1!$C$2:$C$3</c:f>
              <c:numCache>
                <c:formatCode>General</c:formatCode>
                <c:ptCount val="2"/>
                <c:pt idx="0">
                  <c:v>34963731</c:v>
                </c:pt>
                <c:pt idx="1">
                  <c:v>7290851</c:v>
                </c:pt>
              </c:numCache>
            </c:numRef>
          </c:bubbleSize>
          <c:bubble3D val="0"/>
          <c:extLst>
            <c:ext xmlns:c15="http://schemas.microsoft.com/office/drawing/2012/chart" uri="{02D57815-91ED-43cb-92C2-25804820EDAC}">
              <c15:datalabelsRange>
                <c15:f>Sheet1!$E$2:$E$10</c15:f>
                <c15:dlblRangeCache>
                  <c:ptCount val="9"/>
                  <c:pt idx="0">
                    <c:v>Beiersdorf</c:v>
                  </c:pt>
                  <c:pt idx="1">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47"/>
          <c:min val="54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FC7AA68-0AF2-4EED-9AE9-6FD215E58D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96B8A6D-6544-4BF1-87C2-BB754DA5A6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5921F74-F9AB-488B-8B81-32745C32D1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B466ACD-DC0B-41A5-A903-BA5F53D4C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969B0C2-5508-418B-8505-974174767D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17FFF9F-AD32-43CF-B20F-73BAFACFBF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59C37B6-5D6B-4D70-8723-126E5B58EF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C24D42C-A677-4458-BEDD-1D4BAB189C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02.60319999999999</c:v>
                </c:pt>
                <c:pt idx="1">
                  <c:v>240.13339999999999</c:v>
                </c:pt>
                <c:pt idx="2">
                  <c:v>316.64830000000001</c:v>
                </c:pt>
                <c:pt idx="3">
                  <c:v>623.33420000000001</c:v>
                </c:pt>
                <c:pt idx="4">
                  <c:v>505.11149999999998</c:v>
                </c:pt>
                <c:pt idx="5">
                  <c:v>594.25900000000001</c:v>
                </c:pt>
              </c:numCache>
            </c:numRef>
          </c:xVal>
          <c:yVal>
            <c:numRef>
              <c:f>Sheet1!$B$2:$B$7</c:f>
              <c:numCache>
                <c:formatCode>General</c:formatCode>
                <c:ptCount val="6"/>
                <c:pt idx="0">
                  <c:v>0.83599999999999997</c:v>
                </c:pt>
                <c:pt idx="1">
                  <c:v>0.92500000000000004</c:v>
                </c:pt>
                <c:pt idx="2">
                  <c:v>3.9359999999999999</c:v>
                </c:pt>
                <c:pt idx="3">
                  <c:v>4.7930000000000001</c:v>
                </c:pt>
                <c:pt idx="4">
                  <c:v>2.5590000000000002</c:v>
                </c:pt>
                <c:pt idx="5">
                  <c:v>1.554</c:v>
                </c:pt>
              </c:numCache>
            </c:numRef>
          </c:yVal>
          <c:bubbleSize>
            <c:numRef>
              <c:f>Sheet1!$C$2:$C$7</c:f>
              <c:numCache>
                <c:formatCode>General</c:formatCode>
                <c:ptCount val="6"/>
                <c:pt idx="0">
                  <c:v>362406041</c:v>
                </c:pt>
                <c:pt idx="1">
                  <c:v>328739520</c:v>
                </c:pt>
                <c:pt idx="2">
                  <c:v>41170923</c:v>
                </c:pt>
                <c:pt idx="3">
                  <c:v>18994862</c:v>
                </c:pt>
                <c:pt idx="4">
                  <c:v>9773403</c:v>
                </c:pt>
                <c:pt idx="5">
                  <c:v>8609624</c:v>
                </c:pt>
              </c:numCache>
            </c:numRef>
          </c:bubbleSize>
          <c:bubble3D val="0"/>
          <c:extLst>
            <c:ext xmlns:c15="http://schemas.microsoft.com/office/drawing/2012/chart" uri="{02D57815-91ED-43cb-92C2-25804820EDAC}">
              <c15:datalabelsRange>
                <c15:f>Sheet1!$E$2:$E$10</c15:f>
                <c15:dlblRangeCache>
                  <c:ptCount val="9"/>
                  <c:pt idx="0">
                    <c:v>Edgewell</c:v>
                  </c:pt>
                  <c:pt idx="1">
                    <c:v>Beiersdorf</c:v>
                  </c:pt>
                  <c:pt idx="2">
                    <c:v>L'Oreal</c:v>
                  </c:pt>
                  <c:pt idx="3">
                    <c:v>Isdin</c:v>
                  </c:pt>
                  <c:pt idx="4">
                    <c:v>Galderma</c:v>
                  </c:pt>
                  <c:pt idx="5">
                    <c:v>Pierre Fab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48"/>
          <c:min val="16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2C120B9E-3FCF-4ACA-A52F-7EC96C9DA7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C6FD6A3D-28A5-4427-93F8-707D86E15E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1F323800-7BB2-43F3-87B3-5DB974C202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B80D07BC-4625-4BE1-9D6D-CF3EBE65F6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EC11A4D4-DC8D-413C-BBD3-E1770894D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D57225AB-0063-446F-9D40-78B647453B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371BF34A-1C1D-45D4-A2A7-5C577ACEC2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D3E616AD-F873-487F-A4BF-719844A47E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14.13599999999997</c:v>
                </c:pt>
                <c:pt idx="1">
                  <c:v>645.86260000000004</c:v>
                </c:pt>
                <c:pt idx="2">
                  <c:v>726.0145</c:v>
                </c:pt>
                <c:pt idx="3">
                  <c:v>646.51089999999999</c:v>
                </c:pt>
                <c:pt idx="4">
                  <c:v>592.42269999999996</c:v>
                </c:pt>
                <c:pt idx="5">
                  <c:v>581.06089999999995</c:v>
                </c:pt>
                <c:pt idx="6">
                  <c:v>261.5958</c:v>
                </c:pt>
                <c:pt idx="7">
                  <c:v>270.21260000000001</c:v>
                </c:pt>
              </c:numCache>
            </c:numRef>
          </c:xVal>
          <c:yVal>
            <c:numRef>
              <c:f>Sheet1!$B$2:$B$9</c:f>
              <c:numCache>
                <c:formatCode>General</c:formatCode>
                <c:ptCount val="8"/>
                <c:pt idx="0">
                  <c:v>0.98499999999999999</c:v>
                </c:pt>
                <c:pt idx="1">
                  <c:v>1.04</c:v>
                </c:pt>
                <c:pt idx="2">
                  <c:v>1.2529999999999999</c:v>
                </c:pt>
                <c:pt idx="3">
                  <c:v>1.04</c:v>
                </c:pt>
                <c:pt idx="4">
                  <c:v>0.95099999999999996</c:v>
                </c:pt>
                <c:pt idx="5">
                  <c:v>1.2</c:v>
                </c:pt>
                <c:pt idx="6">
                  <c:v>0.52500000000000002</c:v>
                </c:pt>
                <c:pt idx="7">
                  <c:v>0.44700000000000001</c:v>
                </c:pt>
              </c:numCache>
            </c:numRef>
          </c:yVal>
          <c:bubbleSize>
            <c:numRef>
              <c:f>Sheet1!$C$2:$C$9</c:f>
              <c:numCache>
                <c:formatCode>General</c:formatCode>
                <c:ptCount val="8"/>
                <c:pt idx="0">
                  <c:v>147422120</c:v>
                </c:pt>
                <c:pt idx="1">
                  <c:v>96362699</c:v>
                </c:pt>
                <c:pt idx="2">
                  <c:v>58831861</c:v>
                </c:pt>
                <c:pt idx="3">
                  <c:v>26462337</c:v>
                </c:pt>
                <c:pt idx="4">
                  <c:v>21888242</c:v>
                </c:pt>
                <c:pt idx="5">
                  <c:v>18933868</c:v>
                </c:pt>
                <c:pt idx="6">
                  <c:v>16500156</c:v>
                </c:pt>
                <c:pt idx="7">
                  <c:v>714442</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Avene</c:v>
                  </c:pt>
                  <c:pt idx="3">
                    <c:v>Heliocare</c:v>
                  </c:pt>
                  <c:pt idx="4">
                    <c:v>Eucerin</c:v>
                  </c:pt>
                  <c:pt idx="5">
                    <c:v>Photoderm</c:v>
                  </c:pt>
                  <c:pt idx="6">
                    <c:v>Nivea</c:v>
                  </c:pt>
                  <c:pt idx="7">
                    <c:v>Banana Boat</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71"/>
          <c:min val="20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88C17BE-B8F5-4A91-9336-E91ABABAF2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6602378-11F5-46EC-BB1B-76F732D7E4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A3F5B8C-8668-4BD2-81E1-297CA4229E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EE3E175-BB19-486A-BAB7-AB1789E521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544A231-AEE6-4233-9206-2A475C1330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0C20E26-BD65-4FDB-98D1-052040BF3B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04B7707-72B8-4935-AFB4-2F71CC04F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F8466FF-0D10-4D9B-B970-8B3C214E3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33.06200000000001</c:v>
                </c:pt>
                <c:pt idx="1">
                  <c:v>614.44690000000003</c:v>
                </c:pt>
                <c:pt idx="2">
                  <c:v>287.61689999999999</c:v>
                </c:pt>
                <c:pt idx="3">
                  <c:v>624.47</c:v>
                </c:pt>
                <c:pt idx="4">
                  <c:v>404.45150000000001</c:v>
                </c:pt>
                <c:pt idx="5">
                  <c:v>211.91800000000001</c:v>
                </c:pt>
              </c:numCache>
            </c:numRef>
          </c:xVal>
          <c:yVal>
            <c:numRef>
              <c:f>Sheet1!$B$2:$B$7</c:f>
              <c:numCache>
                <c:formatCode>General</c:formatCode>
                <c:ptCount val="6"/>
                <c:pt idx="0">
                  <c:v>0.90800000000000003</c:v>
                </c:pt>
                <c:pt idx="1">
                  <c:v>1.6819999999999999</c:v>
                </c:pt>
                <c:pt idx="2">
                  <c:v>2.903</c:v>
                </c:pt>
                <c:pt idx="3">
                  <c:v>2.6840000000000002</c:v>
                </c:pt>
                <c:pt idx="4">
                  <c:v>4.085</c:v>
                </c:pt>
                <c:pt idx="5">
                  <c:v>0.88800000000000001</c:v>
                </c:pt>
              </c:numCache>
            </c:numRef>
          </c:yVal>
          <c:bubbleSize>
            <c:numRef>
              <c:f>Sheet1!$C$2:$C$7</c:f>
              <c:numCache>
                <c:formatCode>General</c:formatCode>
                <c:ptCount val="6"/>
                <c:pt idx="0">
                  <c:v>96910458</c:v>
                </c:pt>
                <c:pt idx="1">
                  <c:v>6626810</c:v>
                </c:pt>
                <c:pt idx="2">
                  <c:v>4484235</c:v>
                </c:pt>
                <c:pt idx="3">
                  <c:v>4388775</c:v>
                </c:pt>
                <c:pt idx="4">
                  <c:v>2967056</c:v>
                </c:pt>
                <c:pt idx="5">
                  <c:v>2052638</c:v>
                </c:pt>
              </c:numCache>
            </c:numRef>
          </c:bubbleSize>
          <c:bubble3D val="0"/>
          <c:extLst>
            <c:ext xmlns:c15="http://schemas.microsoft.com/office/drawing/2012/chart" uri="{02D57815-91ED-43cb-92C2-25804820EDAC}">
              <c15:datalabelsRange>
                <c15:f>Sheet1!$E$2:$E$10</c15:f>
                <c15:dlblRangeCache>
                  <c:ptCount val="9"/>
                  <c:pt idx="0">
                    <c:v>Edgewell</c:v>
                  </c:pt>
                  <c:pt idx="1">
                    <c:v>Isdin</c:v>
                  </c:pt>
                  <c:pt idx="2">
                    <c:v>Glaxosmithkline</c:v>
                  </c:pt>
                  <c:pt idx="3">
                    <c:v>L'Oreal</c:v>
                  </c:pt>
                  <c:pt idx="4">
                    <c:v>Labs. Expanscience</c:v>
                  </c:pt>
                  <c:pt idx="5">
                    <c:v>Sun &amp; Skin Care Resear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49"/>
          <c:min val="1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63A2228-BA5F-4463-A296-F8AB64D90F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C13F18B2-FC7F-4A37-9480-3D6514544B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63C9412-70E4-43E7-BF2F-9EC5F8AA10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37135A8-F72A-4569-B7A9-0EF38516F2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CD0ED49-39E7-40A3-B037-2F4F5D482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9111FCA-B7F1-439B-A67C-A8BFC4B89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B558F14-0803-4120-A2E5-40651E34C6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C9738E4-6A70-4534-973A-84166488F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6.14070000000001</c:v>
                </c:pt>
              </c:numCache>
            </c:numRef>
          </c:xVal>
          <c:yVal>
            <c:numRef>
              <c:f>Sheet1!$B$2:$B$2</c:f>
              <c:numCache>
                <c:formatCode>General</c:formatCode>
                <c:ptCount val="1"/>
                <c:pt idx="0">
                  <c:v>1</c:v>
                </c:pt>
              </c:numCache>
            </c:numRef>
          </c:yVal>
          <c:bubbleSize>
            <c:numRef>
              <c:f>Sheet1!$C$2:$C$2</c:f>
              <c:numCache>
                <c:formatCode>General</c:formatCode>
                <c:ptCount val="1"/>
                <c:pt idx="0">
                  <c:v>3247129</c:v>
                </c:pt>
              </c:numCache>
            </c:numRef>
          </c:bubbleSize>
          <c:bubble3D val="0"/>
          <c:extLst>
            <c:ext xmlns:c15="http://schemas.microsoft.com/office/drawing/2012/chart" uri="{02D57815-91ED-43cb-92C2-25804820EDAC}">
              <c15:datalabelsRange>
                <c15:f>Sheet1!$E$2:$E$10</c15:f>
                <c15:dlblRangeCache>
                  <c:ptCount val="9"/>
                  <c:pt idx="0">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7"/>
          <c:min val="16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6DD1340-4019-4EDB-BCCE-3BAF7358A7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10ABB74F-0930-49A6-B482-E03C079EBC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229D3CF-FBAB-4A4F-B392-4975CC574A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72AE0F9-4071-4DEB-9932-F3331D5427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F7A8387-7D8F-418C-84F2-17FC8F4396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EFAB0BE-D318-4214-8AC4-16B43DA46A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79C00F7-186A-430D-BB64-BF818BCAD9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9448CBF-9AE4-4FFA-9A7E-CA758B824B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05699999999999</c:v>
                </c:pt>
              </c:numCache>
            </c:numRef>
          </c:xVal>
          <c:yVal>
            <c:numRef>
              <c:f>Sheet1!$B$2:$B$2</c:f>
              <c:numCache>
                <c:formatCode>General</c:formatCode>
                <c:ptCount val="1"/>
                <c:pt idx="0">
                  <c:v>0.93899999999999995</c:v>
                </c:pt>
              </c:numCache>
            </c:numRef>
          </c:yVal>
          <c:bubbleSize>
            <c:numRef>
              <c:f>Sheet1!$C$2:$C$2</c:f>
              <c:numCache>
                <c:formatCode>General</c:formatCode>
                <c:ptCount val="1"/>
                <c:pt idx="0">
                  <c:v>13435038</c:v>
                </c:pt>
              </c:numCache>
            </c:numRef>
          </c:bubbleSize>
          <c:bubble3D val="0"/>
          <c:extLst>
            <c:ext xmlns:c15="http://schemas.microsoft.com/office/drawing/2012/chart" uri="{02D57815-91ED-43cb-92C2-25804820EDAC}">
              <c15:datalabelsRange>
                <c15:f>Sheet1!$E$2:$E$10</c15:f>
                <c15:dlblRangeCache>
                  <c:ptCount val="9"/>
                  <c:pt idx="0">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8"/>
          <c:min val="17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A46731D-FFCB-4852-A618-B0BD553702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1F3BF46-0D3E-4C95-8639-40BE43D642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101C19F-44AA-408B-A4CD-4E6F8D419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DCDB6B9-FBC3-4F0E-BCA5-8A89361E88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914C574-5402-4BC0-8315-48AD4CB46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80A3ACD-5B8E-43A8-B13E-4D9ADD19FB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A17C1B8-0B92-413B-BB75-DE11DD66D8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DB188F8-03E5-45AF-A386-5EA161B1B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721.28530000000001</c:v>
                </c:pt>
                <c:pt idx="1">
                  <c:v>975.346</c:v>
                </c:pt>
                <c:pt idx="2">
                  <c:v>247.04259999999999</c:v>
                </c:pt>
                <c:pt idx="3">
                  <c:v>357.13549999999998</c:v>
                </c:pt>
                <c:pt idx="4">
                  <c:v>605.37639999999999</c:v>
                </c:pt>
                <c:pt idx="5">
                  <c:v>317.80939999999998</c:v>
                </c:pt>
              </c:numCache>
            </c:numRef>
          </c:xVal>
          <c:yVal>
            <c:numRef>
              <c:f>Sheet1!$B$2:$B$7</c:f>
              <c:numCache>
                <c:formatCode>General</c:formatCode>
                <c:ptCount val="6"/>
                <c:pt idx="0">
                  <c:v>1.2629999999999999</c:v>
                </c:pt>
                <c:pt idx="1">
                  <c:v>2.3479999999999999</c:v>
                </c:pt>
                <c:pt idx="2">
                  <c:v>0.29099999999999998</c:v>
                </c:pt>
                <c:pt idx="3">
                  <c:v>1.034</c:v>
                </c:pt>
                <c:pt idx="4">
                  <c:v>2.3410000000000002</c:v>
                </c:pt>
                <c:pt idx="5">
                  <c:v>1.042</c:v>
                </c:pt>
              </c:numCache>
            </c:numRef>
          </c:yVal>
          <c:bubbleSize>
            <c:numRef>
              <c:f>Sheet1!$C$2:$C$7</c:f>
              <c:numCache>
                <c:formatCode>General</c:formatCode>
                <c:ptCount val="6"/>
                <c:pt idx="0">
                  <c:v>24116173</c:v>
                </c:pt>
                <c:pt idx="1">
                  <c:v>4087675</c:v>
                </c:pt>
                <c:pt idx="2">
                  <c:v>3113231</c:v>
                </c:pt>
                <c:pt idx="3">
                  <c:v>2739229</c:v>
                </c:pt>
                <c:pt idx="4">
                  <c:v>2301641</c:v>
                </c:pt>
                <c:pt idx="5">
                  <c:v>1190832</c:v>
                </c:pt>
              </c:numCache>
            </c:numRef>
          </c:bubbleSize>
          <c:bubble3D val="0"/>
          <c:extLst>
            <c:ext xmlns:c15="http://schemas.microsoft.com/office/drawing/2012/chart" uri="{02D57815-91ED-43cb-92C2-25804820EDAC}">
              <c15:datalabelsRange>
                <c15:f>Sheet1!$E$2:$E$10</c15:f>
                <c15:dlblRangeCache>
                  <c:ptCount val="9"/>
                  <c:pt idx="0">
                    <c:v>Bioderma</c:v>
                  </c:pt>
                  <c:pt idx="1">
                    <c:v>L'Oreal</c:v>
                  </c:pt>
                  <c:pt idx="2">
                    <c:v>Edgewell</c:v>
                  </c:pt>
                  <c:pt idx="3">
                    <c:v>Australian Gold</c:v>
                  </c:pt>
                  <c:pt idx="4">
                    <c:v>Genove Lab.</c:v>
                  </c:pt>
                  <c:pt idx="5">
                    <c:v>Sun &amp; Skin Care Resear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70"/>
          <c:min val="19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2FDE16D-F447-4487-A61E-D61E52F152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A804ED1-C12E-46F0-AB9F-B987BB4B9E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F291CD8-D458-42FD-8C3C-7FBCD220D9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C6BAD21-57E9-44C8-ACEC-3631A7E050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00A978D-F663-4714-8BD4-3EA3E03F6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0002235-DBC1-4A86-8F6F-B3C3706D71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C655ACE-CCEA-406A-83DA-61C8905E09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FDF0AF1-4816-43E5-9DE1-8D90E78465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475.40699999999998</c:v>
                </c:pt>
                <c:pt idx="1">
                  <c:v>550.43579999999997</c:v>
                </c:pt>
                <c:pt idx="2">
                  <c:v>350.09210000000002</c:v>
                </c:pt>
              </c:numCache>
            </c:numRef>
          </c:xVal>
          <c:yVal>
            <c:numRef>
              <c:f>Sheet1!$B$2:$B$4</c:f>
              <c:numCache>
                <c:formatCode>General</c:formatCode>
                <c:ptCount val="3"/>
                <c:pt idx="0">
                  <c:v>1.603</c:v>
                </c:pt>
                <c:pt idx="1">
                  <c:v>0.74299999999999999</c:v>
                </c:pt>
                <c:pt idx="2">
                  <c:v>0.28499999999999998</c:v>
                </c:pt>
              </c:numCache>
            </c:numRef>
          </c:yVal>
          <c:bubbleSize>
            <c:numRef>
              <c:f>Sheet1!$C$2:$C$4</c:f>
              <c:numCache>
                <c:formatCode>General</c:formatCode>
                <c:ptCount val="3"/>
                <c:pt idx="0">
                  <c:v>36576861</c:v>
                </c:pt>
                <c:pt idx="1">
                  <c:v>12639657</c:v>
                </c:pt>
                <c:pt idx="2">
                  <c:v>2161819</c:v>
                </c:pt>
              </c:numCache>
            </c:numRef>
          </c:bubbleSize>
          <c:bubble3D val="0"/>
          <c:extLst>
            <c:ext xmlns:c15="http://schemas.microsoft.com/office/drawing/2012/chart" uri="{02D57815-91ED-43cb-92C2-25804820EDAC}">
              <c15:datalabelsRange>
                <c15:f>Sheet1!$E$2:$E$10</c15:f>
                <c15:dlblRangeCache>
                  <c:ptCount val="9"/>
                  <c:pt idx="0">
                    <c:v>Isdin</c:v>
                  </c:pt>
                  <c:pt idx="1">
                    <c:v>Ifc</c:v>
                  </c:pt>
                  <c:pt idx="2">
                    <c:v>J&amp;J</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1"/>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68A690-DA71-4C79-9375-0590B648D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CDD74D1-6BED-4056-A570-679C0615BE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85D6092-DE19-44B5-90F3-130BC7907A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E54E673-30BC-4DB5-8073-FA40691362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AD90B0A-99F1-44BE-BAF7-4170286854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2C12D91-B73D-4B4E-8C10-66F8A1FE7E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4930A15-136E-4BD1-A5A8-C4346499FC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D81A06C-C5C5-4D94-BEB0-F72C61ACC8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572.85310000000004</c:v>
                </c:pt>
                <c:pt idx="1">
                  <c:v>637.73310000000004</c:v>
                </c:pt>
                <c:pt idx="2">
                  <c:v>704.71749999999997</c:v>
                </c:pt>
              </c:numCache>
            </c:numRef>
          </c:xVal>
          <c:yVal>
            <c:numRef>
              <c:f>Sheet1!$B$2:$B$4</c:f>
              <c:numCache>
                <c:formatCode>General</c:formatCode>
                <c:ptCount val="3"/>
                <c:pt idx="0">
                  <c:v>1.8109999999999999</c:v>
                </c:pt>
                <c:pt idx="1">
                  <c:v>0.84799999999999998</c:v>
                </c:pt>
                <c:pt idx="2">
                  <c:v>0.93700000000000006</c:v>
                </c:pt>
              </c:numCache>
            </c:numRef>
          </c:yVal>
          <c:bubbleSize>
            <c:numRef>
              <c:f>Sheet1!$C$2:$C$4</c:f>
              <c:numCache>
                <c:formatCode>General</c:formatCode>
                <c:ptCount val="3"/>
                <c:pt idx="0">
                  <c:v>31795641</c:v>
                </c:pt>
                <c:pt idx="1">
                  <c:v>29178838</c:v>
                </c:pt>
                <c:pt idx="2">
                  <c:v>3737117</c:v>
                </c:pt>
              </c:numCache>
            </c:numRef>
          </c:bubbleSize>
          <c:bubble3D val="0"/>
          <c:extLst>
            <c:ext xmlns:c15="http://schemas.microsoft.com/office/drawing/2012/chart" uri="{02D57815-91ED-43cb-92C2-25804820EDAC}">
              <c15:datalabelsRange>
                <c15:f>Sheet1!$E$2:$E$10</c15:f>
                <c15:dlblRangeCache>
                  <c:ptCount val="9"/>
                  <c:pt idx="0">
                    <c:v>L'Oreal</c:v>
                  </c:pt>
                  <c:pt idx="1">
                    <c:v>Isdin</c:v>
                  </c:pt>
                  <c:pt idx="2">
                    <c:v>If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6"/>
          <c:min val="45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5F28DB-EF99-4F06-B429-F2E490414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B097304-9015-47DA-BAF3-651091143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27C1830-12C3-4B8B-8A54-899660FC3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68FFFB6-14CA-4411-B907-DB796BD953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0A7F893-93C0-4A25-9412-FD846F82C0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4D3C46-CA0E-45FC-A4DC-CE6D39F100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E21165F-9CC6-45E1-BC38-FE7A85F11D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29AB196-3DA6-477C-A12B-072700D9CA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304.54000000000002</c:v>
                </c:pt>
                <c:pt idx="1">
                  <c:v>618.10490000000004</c:v>
                </c:pt>
                <c:pt idx="2">
                  <c:v>248.59540000000001</c:v>
                </c:pt>
                <c:pt idx="3">
                  <c:v>485.60399999999998</c:v>
                </c:pt>
                <c:pt idx="4">
                  <c:v>301.66059999999999</c:v>
                </c:pt>
                <c:pt idx="5">
                  <c:v>659.19629999999995</c:v>
                </c:pt>
                <c:pt idx="6">
                  <c:v>82.222499999999997</c:v>
                </c:pt>
                <c:pt idx="7">
                  <c:v>726.53290000000004</c:v>
                </c:pt>
              </c:numCache>
            </c:numRef>
          </c:xVal>
          <c:yVal>
            <c:numRef>
              <c:f>Sheet1!$B$2:$B$9</c:f>
              <c:numCache>
                <c:formatCode>General</c:formatCode>
                <c:ptCount val="8"/>
                <c:pt idx="0">
                  <c:v>1.1850000000000001</c:v>
                </c:pt>
                <c:pt idx="1">
                  <c:v>4.8869999999999996</c:v>
                </c:pt>
                <c:pt idx="2">
                  <c:v>0.44500000000000001</c:v>
                </c:pt>
                <c:pt idx="3">
                  <c:v>2.95</c:v>
                </c:pt>
                <c:pt idx="4">
                  <c:v>1.3009999999999999</c:v>
                </c:pt>
                <c:pt idx="5">
                  <c:v>2.7930000000000001</c:v>
                </c:pt>
                <c:pt idx="6">
                  <c:v>0.255</c:v>
                </c:pt>
                <c:pt idx="7">
                  <c:v>9.3089999999999993</c:v>
                </c:pt>
              </c:numCache>
            </c:numRef>
          </c:yVal>
          <c:bubbleSize>
            <c:numRef>
              <c:f>Sheet1!$C$2:$C$9</c:f>
              <c:numCache>
                <c:formatCode>General</c:formatCode>
                <c:ptCount val="8"/>
                <c:pt idx="0">
                  <c:v>387109602</c:v>
                </c:pt>
                <c:pt idx="1">
                  <c:v>293910122</c:v>
                </c:pt>
                <c:pt idx="2">
                  <c:v>190246074</c:v>
                </c:pt>
                <c:pt idx="3">
                  <c:v>168505566</c:v>
                </c:pt>
                <c:pt idx="4">
                  <c:v>158153722</c:v>
                </c:pt>
                <c:pt idx="5">
                  <c:v>134451648</c:v>
                </c:pt>
                <c:pt idx="6">
                  <c:v>75038517</c:v>
                </c:pt>
                <c:pt idx="7">
                  <c:v>46613626</c:v>
                </c:pt>
              </c:numCache>
            </c:numRef>
          </c:bubbleSize>
          <c:bubble3D val="0"/>
          <c:extLst>
            <c:ext xmlns:c15="http://schemas.microsoft.com/office/drawing/2012/chart" uri="{02D57815-91ED-43cb-92C2-25804820EDAC}">
              <c15:datalabelsRange>
                <c15:f>Sheet1!$E$2:$E$10</c15:f>
                <c15:dlblRangeCache>
                  <c:ptCount val="9"/>
                  <c:pt idx="0">
                    <c:v>Beiersdorf</c:v>
                  </c:pt>
                  <c:pt idx="1">
                    <c:v>Isdin</c:v>
                  </c:pt>
                  <c:pt idx="2">
                    <c:v>Edgewell</c:v>
                  </c:pt>
                  <c:pt idx="3">
                    <c:v>L'Oreal</c:v>
                  </c:pt>
                  <c:pt idx="4">
                    <c:v>J&amp;J</c:v>
                  </c:pt>
                  <c:pt idx="5">
                    <c:v>Pierre Fabre</c:v>
                  </c:pt>
                  <c:pt idx="6">
                    <c:v>Total Care De Mexico</c:v>
                  </c:pt>
                  <c:pt idx="7">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72"/>
          <c:min val="6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5069231-B8A8-4D7F-822D-30537AE856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17A0837-FABB-45DE-B70F-E1BAC1AF4F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47E4188-903B-4AF6-8B12-BFDF92F4F3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388A176-4EDE-4DA0-933F-AECB55982B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C2ADE34-8CF7-478E-B36D-DEF03F2200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E5D8DD-B3EC-4105-BF4B-1FEFD7D5B2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3B5762A-094E-46A1-AC51-EF4C691744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D3B27D7-D18A-4407-8960-972995EB84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18.98260000000005</c:v>
                </c:pt>
                <c:pt idx="1">
                  <c:v>632.22529999999995</c:v>
                </c:pt>
                <c:pt idx="2">
                  <c:v>747.31100000000004</c:v>
                </c:pt>
                <c:pt idx="3">
                  <c:v>384.63389999999998</c:v>
                </c:pt>
                <c:pt idx="4">
                  <c:v>640.42579999999998</c:v>
                </c:pt>
                <c:pt idx="5">
                  <c:v>600.24639999999999</c:v>
                </c:pt>
              </c:numCache>
            </c:numRef>
          </c:xVal>
          <c:yVal>
            <c:numRef>
              <c:f>Sheet1!$B$2:$B$7</c:f>
              <c:numCache>
                <c:formatCode>General</c:formatCode>
                <c:ptCount val="6"/>
                <c:pt idx="0">
                  <c:v>0.96899999999999997</c:v>
                </c:pt>
                <c:pt idx="1">
                  <c:v>1.0069999999999999</c:v>
                </c:pt>
                <c:pt idx="2">
                  <c:v>1.323</c:v>
                </c:pt>
                <c:pt idx="3">
                  <c:v>0.69499999999999995</c:v>
                </c:pt>
                <c:pt idx="4">
                  <c:v>1.002</c:v>
                </c:pt>
                <c:pt idx="5">
                  <c:v>1.4910000000000001</c:v>
                </c:pt>
              </c:numCache>
            </c:numRef>
          </c:yVal>
          <c:bubbleSize>
            <c:numRef>
              <c:f>Sheet1!$C$2:$C$7</c:f>
              <c:numCache>
                <c:formatCode>General</c:formatCode>
                <c:ptCount val="6"/>
                <c:pt idx="0">
                  <c:v>137352856</c:v>
                </c:pt>
                <c:pt idx="1">
                  <c:v>70816815</c:v>
                </c:pt>
                <c:pt idx="2">
                  <c:v>56541549</c:v>
                </c:pt>
                <c:pt idx="3">
                  <c:v>38088372</c:v>
                </c:pt>
                <c:pt idx="4">
                  <c:v>23466483</c:v>
                </c:pt>
                <c:pt idx="5">
                  <c:v>17920958</c:v>
                </c:pt>
              </c:numCache>
            </c:numRef>
          </c:bubbleSize>
          <c:bubble3D val="0"/>
          <c:extLst>
            <c:ext xmlns:c15="http://schemas.microsoft.com/office/drawing/2012/chart" uri="{02D57815-91ED-43cb-92C2-25804820EDAC}">
              <c15:datalabelsRange>
                <c15:f>Sheet1!$E$2:$E$10</c15:f>
                <c15:dlblRangeCache>
                  <c:ptCount val="9"/>
                  <c:pt idx="0">
                    <c:v>L'Oreal</c:v>
                  </c:pt>
                  <c:pt idx="1">
                    <c:v>Isdin</c:v>
                  </c:pt>
                  <c:pt idx="2">
                    <c:v>Pierre Fabre</c:v>
                  </c:pt>
                  <c:pt idx="3">
                    <c:v>Beiersdorf</c:v>
                  </c:pt>
                  <c:pt idx="4">
                    <c:v>Ifc</c:v>
                  </c:pt>
                  <c:pt idx="5">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7"/>
          <c:min val="30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CB009B7-18FF-4FAB-8049-00CA26A325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F16F1B6-05EF-4A53-8D3C-72EA795411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0D58C28-1460-4536-8E65-4E8D4E1BC2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1B44E15-D1AC-47A5-86B3-1D3E3FE04D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8880C8B-97DC-47C3-B272-8CF06BE8FB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9C761AE-8591-486A-8E76-7D860D39ED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D826A05-0EDB-436E-8F30-28FEBC1AF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5C806C8-C83E-4093-882B-E30372D065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54.69779999999997</c:v>
                </c:pt>
                <c:pt idx="1">
                  <c:v>632.08420000000001</c:v>
                </c:pt>
                <c:pt idx="2">
                  <c:v>582.02020000000005</c:v>
                </c:pt>
                <c:pt idx="3">
                  <c:v>663.69219999999996</c:v>
                </c:pt>
                <c:pt idx="4">
                  <c:v>752.56579999999997</c:v>
                </c:pt>
                <c:pt idx="5">
                  <c:v>511.63319999999999</c:v>
                </c:pt>
              </c:numCache>
            </c:numRef>
          </c:xVal>
          <c:yVal>
            <c:numRef>
              <c:f>Sheet1!$B$2:$B$7</c:f>
              <c:numCache>
                <c:formatCode>General</c:formatCode>
                <c:ptCount val="6"/>
                <c:pt idx="0">
                  <c:v>0.76800000000000002</c:v>
                </c:pt>
                <c:pt idx="1">
                  <c:v>0.86399999999999999</c:v>
                </c:pt>
                <c:pt idx="2">
                  <c:v>3.923</c:v>
                </c:pt>
                <c:pt idx="3">
                  <c:v>4.1100000000000003</c:v>
                </c:pt>
                <c:pt idx="4">
                  <c:v>9.26</c:v>
                </c:pt>
                <c:pt idx="5">
                  <c:v>1.7290000000000001</c:v>
                </c:pt>
              </c:numCache>
            </c:numRef>
          </c:yVal>
          <c:bubbleSize>
            <c:numRef>
              <c:f>Sheet1!$C$2:$C$7</c:f>
              <c:numCache>
                <c:formatCode>General</c:formatCode>
                <c:ptCount val="6"/>
                <c:pt idx="0">
                  <c:v>202847069</c:v>
                </c:pt>
                <c:pt idx="1">
                  <c:v>106368391</c:v>
                </c:pt>
                <c:pt idx="2">
                  <c:v>57204435</c:v>
                </c:pt>
                <c:pt idx="3">
                  <c:v>22137452</c:v>
                </c:pt>
                <c:pt idx="4">
                  <c:v>12419594</c:v>
                </c:pt>
                <c:pt idx="5">
                  <c:v>5839270</c:v>
                </c:pt>
              </c:numCache>
            </c:numRef>
          </c:bubbleSize>
          <c:bubble3D val="0"/>
          <c:extLst>
            <c:ext xmlns:c15="http://schemas.microsoft.com/office/drawing/2012/chart" uri="{02D57815-91ED-43cb-92C2-25804820EDAC}">
              <c15:datalabelsRange>
                <c15:f>Sheet1!$E$2:$E$10</c15:f>
                <c15:dlblRangeCache>
                  <c:ptCount val="9"/>
                  <c:pt idx="0">
                    <c:v>Beiersdorf</c:v>
                  </c:pt>
                  <c:pt idx="1">
                    <c:v>Isdin</c:v>
                  </c:pt>
                  <c:pt idx="2">
                    <c:v>L'Oreal</c:v>
                  </c:pt>
                  <c:pt idx="3">
                    <c:v>Ifc</c:v>
                  </c:pt>
                  <c:pt idx="4">
                    <c:v>Bioderma</c:v>
                  </c:pt>
                  <c:pt idx="5">
                    <c:v>Gal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03"/>
          <c:min val="28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38B56D9-B247-4A3A-8356-BFC13F0A4E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C078266-7E92-4549-B1AB-CDC6B745B6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164CD60-83EB-421E-B0A1-4796726D1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F9ED7D7-06D0-4E92-A20C-44956CA998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EFE3C91-CB5B-46F2-A45B-A261A2C72B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6501A56-3766-4E16-A73D-EB5D71FB56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5C1F96F-C3F5-4A17-8418-91182A5DEB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EB594FD-D256-40FA-A8CE-98EC1D1195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687.48429999999996</c:v>
                </c:pt>
                <c:pt idx="1">
                  <c:v>824.6857</c:v>
                </c:pt>
              </c:numCache>
            </c:numRef>
          </c:xVal>
          <c:yVal>
            <c:numRef>
              <c:f>Sheet1!$B$2:$B$3</c:f>
              <c:numCache>
                <c:formatCode>General</c:formatCode>
                <c:ptCount val="2"/>
                <c:pt idx="0">
                  <c:v>0.879</c:v>
                </c:pt>
                <c:pt idx="1">
                  <c:v>2.84</c:v>
                </c:pt>
              </c:numCache>
            </c:numRef>
          </c:yVal>
          <c:bubbleSize>
            <c:numRef>
              <c:f>Sheet1!$C$2:$C$3</c:f>
              <c:numCache>
                <c:formatCode>General</c:formatCode>
                <c:ptCount val="2"/>
                <c:pt idx="0">
                  <c:v>34448463</c:v>
                </c:pt>
                <c:pt idx="1">
                  <c:v>7277027</c:v>
                </c:pt>
              </c:numCache>
            </c:numRef>
          </c:bubbleSize>
          <c:bubble3D val="0"/>
          <c:extLst>
            <c:ext xmlns:c15="http://schemas.microsoft.com/office/drawing/2012/chart" uri="{02D57815-91ED-43cb-92C2-25804820EDAC}">
              <c15:datalabelsRange>
                <c15:f>Sheet1!$E$2:$E$10</c15:f>
                <c15:dlblRangeCache>
                  <c:ptCount val="9"/>
                  <c:pt idx="0">
                    <c:v>Beiersdorf</c:v>
                  </c:pt>
                  <c:pt idx="1">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90"/>
          <c:min val="5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5085CB8-2E8A-4544-B81E-635A21878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3A8F80-4230-456F-AACA-BC039C2827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FEACE5A-B0F6-436E-AC05-E37E05AEC4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77E6F69-8EBB-4C63-BA9F-6966F18542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15704F2-54D7-4ED5-BEC3-7D0A178D6E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110CAEE-B881-45B5-BB38-3D697CD81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0AEB16D-A402-448D-90DE-F0DABC6560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1ABE2D3-9977-47BE-B7CA-ECB85EB228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74.8569</c:v>
                </c:pt>
                <c:pt idx="1">
                  <c:v>627.3288</c:v>
                </c:pt>
                <c:pt idx="2">
                  <c:v>623.38030000000003</c:v>
                </c:pt>
                <c:pt idx="3">
                  <c:v>577.38869999999997</c:v>
                </c:pt>
                <c:pt idx="4">
                  <c:v>646.18470000000002</c:v>
                </c:pt>
                <c:pt idx="5">
                  <c:v>721.47519999999997</c:v>
                </c:pt>
                <c:pt idx="6">
                  <c:v>495.24310000000003</c:v>
                </c:pt>
              </c:numCache>
            </c:numRef>
          </c:xVal>
          <c:yVal>
            <c:numRef>
              <c:f>Sheet1!$B$2:$B$8</c:f>
              <c:numCache>
                <c:formatCode>General</c:formatCode>
                <c:ptCount val="7"/>
                <c:pt idx="0">
                  <c:v>0.496</c:v>
                </c:pt>
                <c:pt idx="1">
                  <c:v>0.85199999999999998</c:v>
                </c:pt>
                <c:pt idx="2">
                  <c:v>4.1539999999999999</c:v>
                </c:pt>
                <c:pt idx="3">
                  <c:v>3.8279999999999998</c:v>
                </c:pt>
                <c:pt idx="4">
                  <c:v>3.6280000000000001</c:v>
                </c:pt>
                <c:pt idx="5">
                  <c:v>6.1589999999999998</c:v>
                </c:pt>
                <c:pt idx="6">
                  <c:v>1.6559999999999999</c:v>
                </c:pt>
              </c:numCache>
            </c:numRef>
          </c:yVal>
          <c:bubbleSize>
            <c:numRef>
              <c:f>Sheet1!$C$2:$C$8</c:f>
              <c:numCache>
                <c:formatCode>General</c:formatCode>
                <c:ptCount val="7"/>
                <c:pt idx="0">
                  <c:v>129845148</c:v>
                </c:pt>
                <c:pt idx="1">
                  <c:v>112770510</c:v>
                </c:pt>
                <c:pt idx="2">
                  <c:v>91754106</c:v>
                </c:pt>
                <c:pt idx="3">
                  <c:v>61804261</c:v>
                </c:pt>
                <c:pt idx="4">
                  <c:v>23401579</c:v>
                </c:pt>
                <c:pt idx="5">
                  <c:v>13728230</c:v>
                </c:pt>
                <c:pt idx="6">
                  <c:v>6321283</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Eucerin</c:v>
                  </c:pt>
                  <c:pt idx="3">
                    <c:v>La Roche-Posay</c:v>
                  </c:pt>
                  <c:pt idx="4">
                    <c:v>Heliocare</c:v>
                  </c:pt>
                  <c:pt idx="5">
                    <c:v>Photoderm</c:v>
                  </c:pt>
                  <c:pt idx="6">
                    <c:v>Cetaph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66"/>
          <c:min val="22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C40BAE-3BD4-4297-B9E9-EA1ACD9D0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A498B83-36B4-4453-AFCB-02401C56DA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7AA08C1-8B74-404C-A985-4C0AC90197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9C0B429-1BCC-4FA0-97F2-16738D455E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1DEFB8-5139-40FD-BE5C-47ADA7CA88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660E4C6-10F0-438D-ADF0-A396330D0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D14BC0C-3D2A-4997-8F53-A3621A1D36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3AA050F-57D8-4829-B482-D65486184F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03.38380000000001</c:v>
                </c:pt>
                <c:pt idx="1">
                  <c:v>244.49870000000001</c:v>
                </c:pt>
                <c:pt idx="2">
                  <c:v>316.46140000000003</c:v>
                </c:pt>
                <c:pt idx="3">
                  <c:v>628.96190000000001</c:v>
                </c:pt>
                <c:pt idx="4">
                  <c:v>516.58640000000003</c:v>
                </c:pt>
                <c:pt idx="5">
                  <c:v>603.49339999999995</c:v>
                </c:pt>
              </c:numCache>
            </c:numRef>
          </c:xVal>
          <c:yVal>
            <c:numRef>
              <c:f>Sheet1!$B$2:$B$7</c:f>
              <c:numCache>
                <c:formatCode>General</c:formatCode>
                <c:ptCount val="6"/>
                <c:pt idx="0">
                  <c:v>0.83699999999999997</c:v>
                </c:pt>
                <c:pt idx="1">
                  <c:v>0.91600000000000004</c:v>
                </c:pt>
                <c:pt idx="2">
                  <c:v>4.0670000000000002</c:v>
                </c:pt>
                <c:pt idx="3">
                  <c:v>4.8499999999999996</c:v>
                </c:pt>
                <c:pt idx="4">
                  <c:v>2.605</c:v>
                </c:pt>
                <c:pt idx="5">
                  <c:v>1.5449999999999999</c:v>
                </c:pt>
              </c:numCache>
            </c:numRef>
          </c:yVal>
          <c:bubbleSize>
            <c:numRef>
              <c:f>Sheet1!$C$2:$C$7</c:f>
              <c:numCache>
                <c:formatCode>General</c:formatCode>
                <c:ptCount val="6"/>
                <c:pt idx="0">
                  <c:v>350322056</c:v>
                </c:pt>
                <c:pt idx="1">
                  <c:v>291372758</c:v>
                </c:pt>
                <c:pt idx="2">
                  <c:v>39736790</c:v>
                </c:pt>
                <c:pt idx="3">
                  <c:v>18058126</c:v>
                </c:pt>
                <c:pt idx="4">
                  <c:v>9608507</c:v>
                </c:pt>
                <c:pt idx="5">
                  <c:v>8407267</c:v>
                </c:pt>
              </c:numCache>
            </c:numRef>
          </c:bubbleSize>
          <c:bubble3D val="0"/>
          <c:extLst>
            <c:ext xmlns:c15="http://schemas.microsoft.com/office/drawing/2012/chart" uri="{02D57815-91ED-43cb-92C2-25804820EDAC}">
              <c15:datalabelsRange>
                <c15:f>Sheet1!$E$2:$E$10</c15:f>
                <c15:dlblRangeCache>
                  <c:ptCount val="9"/>
                  <c:pt idx="0">
                    <c:v>Edgewell</c:v>
                  </c:pt>
                  <c:pt idx="1">
                    <c:v>Beiersdorf</c:v>
                  </c:pt>
                  <c:pt idx="2">
                    <c:v>L'Oreal</c:v>
                  </c:pt>
                  <c:pt idx="3">
                    <c:v>Isdin</c:v>
                  </c:pt>
                  <c:pt idx="4">
                    <c:v>Galderma</c:v>
                  </c:pt>
                  <c:pt idx="5">
                    <c:v>Pierre Fab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55"/>
          <c:min val="16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68BBD5C-B782-4082-AB99-F5C502DED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217D8D-7401-4D7C-AD1B-9BA7078E95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F471760-F548-4FE2-86D1-6F97BD3A4D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15DB304-4D7D-420C-83F0-9ABAAD6A1F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0602766-789E-4ABD-99F1-22E07ACEF1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48EA4AB-4B3E-4AEA-A505-A72D65CCF7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9121A7E-23AB-447D-A8D8-0E6423CEED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E240AE4-60EC-4E6F-9641-59B37C416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33.92490000000001</c:v>
                </c:pt>
                <c:pt idx="1">
                  <c:v>636.27970000000005</c:v>
                </c:pt>
                <c:pt idx="2">
                  <c:v>654.95699999999999</c:v>
                </c:pt>
                <c:pt idx="3">
                  <c:v>300.2527</c:v>
                </c:pt>
                <c:pt idx="4">
                  <c:v>417.04509999999999</c:v>
                </c:pt>
                <c:pt idx="5">
                  <c:v>213.762</c:v>
                </c:pt>
              </c:numCache>
            </c:numRef>
          </c:xVal>
          <c:yVal>
            <c:numRef>
              <c:f>Sheet1!$B$2:$B$7</c:f>
              <c:numCache>
                <c:formatCode>General</c:formatCode>
                <c:ptCount val="6"/>
                <c:pt idx="0">
                  <c:v>0.89700000000000002</c:v>
                </c:pt>
                <c:pt idx="1">
                  <c:v>1.6910000000000001</c:v>
                </c:pt>
                <c:pt idx="2">
                  <c:v>2.883</c:v>
                </c:pt>
                <c:pt idx="3">
                  <c:v>3.0939999999999999</c:v>
                </c:pt>
                <c:pt idx="4">
                  <c:v>5.335</c:v>
                </c:pt>
                <c:pt idx="5">
                  <c:v>0.94199999999999995</c:v>
                </c:pt>
              </c:numCache>
            </c:numRef>
          </c:yVal>
          <c:bubbleSize>
            <c:numRef>
              <c:f>Sheet1!$C$2:$C$7</c:f>
              <c:numCache>
                <c:formatCode>General</c:formatCode>
                <c:ptCount val="6"/>
                <c:pt idx="0">
                  <c:v>92691787</c:v>
                </c:pt>
                <c:pt idx="1">
                  <c:v>6581041</c:v>
                </c:pt>
                <c:pt idx="2">
                  <c:v>4375768</c:v>
                </c:pt>
                <c:pt idx="3">
                  <c:v>4101452</c:v>
                </c:pt>
                <c:pt idx="4">
                  <c:v>2959352</c:v>
                </c:pt>
                <c:pt idx="5">
                  <c:v>2052543</c:v>
                </c:pt>
              </c:numCache>
            </c:numRef>
          </c:bubbleSize>
          <c:bubble3D val="0"/>
          <c:extLst>
            <c:ext xmlns:c15="http://schemas.microsoft.com/office/drawing/2012/chart" uri="{02D57815-91ED-43cb-92C2-25804820EDAC}">
              <c15:datalabelsRange>
                <c15:f>Sheet1!$E$2:$E$10</c15:f>
                <c15:dlblRangeCache>
                  <c:ptCount val="9"/>
                  <c:pt idx="0">
                    <c:v>Edgewell</c:v>
                  </c:pt>
                  <c:pt idx="1">
                    <c:v>Isdin</c:v>
                  </c:pt>
                  <c:pt idx="2">
                    <c:v>L'Oreal</c:v>
                  </c:pt>
                  <c:pt idx="3">
                    <c:v>Glaxosmithkline</c:v>
                  </c:pt>
                  <c:pt idx="4">
                    <c:v>Labs. Expanscience</c:v>
                  </c:pt>
                  <c:pt idx="5">
                    <c:v>Sun &amp; Skin Care Resear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6"/>
          <c:min val="17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64B0F45-0802-43F6-A3BC-21D3C0A08F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76E36187-E8F0-48D4-8C3A-78442DC5EE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E5DD259-60E8-49A0-B87A-1D6B47A7FC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0C1726A-7C93-4662-A3E1-D2CC089412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3DC9CF4-3DC6-4B05-9798-31D8E21E3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737A18F-C8F5-4920-8565-7627BCF355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BAAE312-0A77-41FF-9C50-7BC65CEC6B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E3F81E3-9204-4481-B9AD-DA5D2EB3D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7.71950000000001</c:v>
                </c:pt>
              </c:numCache>
            </c:numRef>
          </c:xVal>
          <c:yVal>
            <c:numRef>
              <c:f>Sheet1!$B$2:$B$2</c:f>
              <c:numCache>
                <c:formatCode>General</c:formatCode>
                <c:ptCount val="1"/>
                <c:pt idx="0">
                  <c:v>1</c:v>
                </c:pt>
              </c:numCache>
            </c:numRef>
          </c:yVal>
          <c:bubbleSize>
            <c:numRef>
              <c:f>Sheet1!$C$2:$C$2</c:f>
              <c:numCache>
                <c:formatCode>General</c:formatCode>
                <c:ptCount val="1"/>
                <c:pt idx="0">
                  <c:v>3235646</c:v>
                </c:pt>
              </c:numCache>
            </c:numRef>
          </c:bubbleSize>
          <c:bubble3D val="0"/>
          <c:extLst>
            <c:ext xmlns:c15="http://schemas.microsoft.com/office/drawing/2012/chart" uri="{02D57815-91ED-43cb-92C2-25804820EDAC}">
              <c15:datalabelsRange>
                <c15:f>Sheet1!$E$2:$E$10</c15:f>
                <c15:dlblRangeCache>
                  <c:ptCount val="9"/>
                  <c:pt idx="0">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9"/>
          <c:min val="16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7707C6B-E50B-44C4-8871-F9099A374B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8064D19E-F816-4B0F-86D4-5EE535B85D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8BD4D17-3558-4508-A7AA-72A16B8458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6FEDC24-97A5-4316-8C42-E6E1C2962E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12EE0CC-83C2-4C77-9D2F-08D2FE6F3A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E3572C0-A7FC-4527-AE19-00686DAA6B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AF069B6-A2E9-4075-A888-29F492E899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F9A16DD-62C7-4D53-9154-41AE6F1437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4.5033</c:v>
                </c:pt>
              </c:numCache>
            </c:numRef>
          </c:xVal>
          <c:yVal>
            <c:numRef>
              <c:f>Sheet1!$B$2:$B$2</c:f>
              <c:numCache>
                <c:formatCode>General</c:formatCode>
                <c:ptCount val="1"/>
                <c:pt idx="0">
                  <c:v>0.92800000000000005</c:v>
                </c:pt>
              </c:numCache>
            </c:numRef>
          </c:yVal>
          <c:bubbleSize>
            <c:numRef>
              <c:f>Sheet1!$C$2:$C$2</c:f>
              <c:numCache>
                <c:formatCode>General</c:formatCode>
                <c:ptCount val="1"/>
                <c:pt idx="0">
                  <c:v>13053599</c:v>
                </c:pt>
              </c:numCache>
            </c:numRef>
          </c:bubbleSize>
          <c:bubble3D val="0"/>
          <c:extLst>
            <c:ext xmlns:c15="http://schemas.microsoft.com/office/drawing/2012/chart" uri="{02D57815-91ED-43cb-92C2-25804820EDAC}">
              <c15:datalabelsRange>
                <c15:f>Sheet1!$E$2:$E$10</c15:f>
                <c15:dlblRangeCache>
                  <c:ptCount val="9"/>
                  <c:pt idx="0">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7"/>
          <c:min val="17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EF8E192-D25D-4BE6-B495-50FD7D0A1A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CABAA9D-4842-404B-A348-117DFF11AC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DA9ADF3-9A9C-4C16-A9CE-7DA383E8A3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1CDCE39-2FF6-4CC8-B651-1C1E97499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EC28802-4B3D-4CA9-8FD7-5EB7FCD9B0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B67287E-EC02-45A3-A0A9-35843E0DB4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4EB1A06-92C6-4241-9902-08CFDD7A18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88ECFCE-AF31-4842-8801-F6C4B299A5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738.86839999999995</c:v>
                </c:pt>
                <c:pt idx="1">
                  <c:v>1043.2023999999999</c:v>
                </c:pt>
                <c:pt idx="2">
                  <c:v>252.8441</c:v>
                </c:pt>
                <c:pt idx="3">
                  <c:v>360.13420000000002</c:v>
                </c:pt>
                <c:pt idx="4">
                  <c:v>636.08339999999998</c:v>
                </c:pt>
                <c:pt idx="5">
                  <c:v>321.74520000000001</c:v>
                </c:pt>
              </c:numCache>
            </c:numRef>
          </c:xVal>
          <c:yVal>
            <c:numRef>
              <c:f>Sheet1!$B$2:$B$7</c:f>
              <c:numCache>
                <c:formatCode>General</c:formatCode>
                <c:ptCount val="6"/>
                <c:pt idx="0">
                  <c:v>1.224</c:v>
                </c:pt>
                <c:pt idx="1">
                  <c:v>2.4550000000000001</c:v>
                </c:pt>
                <c:pt idx="2">
                  <c:v>0.27400000000000002</c:v>
                </c:pt>
                <c:pt idx="3">
                  <c:v>0.98799999999999999</c:v>
                </c:pt>
                <c:pt idx="4">
                  <c:v>2.3290000000000002</c:v>
                </c:pt>
                <c:pt idx="5">
                  <c:v>1.0740000000000001</c:v>
                </c:pt>
              </c:numCache>
            </c:numRef>
          </c:yVal>
          <c:bubbleSize>
            <c:numRef>
              <c:f>Sheet1!$C$2:$C$7</c:f>
              <c:numCache>
                <c:formatCode>General</c:formatCode>
                <c:ptCount val="6"/>
                <c:pt idx="0">
                  <c:v>23557341</c:v>
                </c:pt>
                <c:pt idx="1">
                  <c:v>4051798</c:v>
                </c:pt>
                <c:pt idx="2">
                  <c:v>3012132</c:v>
                </c:pt>
                <c:pt idx="3">
                  <c:v>2739181</c:v>
                </c:pt>
                <c:pt idx="4">
                  <c:v>2243466</c:v>
                </c:pt>
                <c:pt idx="5">
                  <c:v>1190779</c:v>
                </c:pt>
              </c:numCache>
            </c:numRef>
          </c:bubbleSize>
          <c:bubble3D val="0"/>
          <c:extLst>
            <c:ext xmlns:c15="http://schemas.microsoft.com/office/drawing/2012/chart" uri="{02D57815-91ED-43cb-92C2-25804820EDAC}">
              <c15:datalabelsRange>
                <c15:f>Sheet1!$E$2:$E$10</c15:f>
                <c15:dlblRangeCache>
                  <c:ptCount val="9"/>
                  <c:pt idx="0">
                    <c:v>Bioderma</c:v>
                  </c:pt>
                  <c:pt idx="1">
                    <c:v>L'Oreal</c:v>
                  </c:pt>
                  <c:pt idx="2">
                    <c:v>Edgewell</c:v>
                  </c:pt>
                  <c:pt idx="3">
                    <c:v>Australian Gold</c:v>
                  </c:pt>
                  <c:pt idx="4">
                    <c:v>Genove Lab.</c:v>
                  </c:pt>
                  <c:pt idx="5">
                    <c:v>Sun &amp; Skin Care Resear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52"/>
          <c:min val="20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0263B14-E876-4DF8-8008-F1D8913656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B6CC5B9-A7E4-43DA-B781-AC1FEDC919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90F04D2-2EE9-46B4-9714-3D0E0ED577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1A404E6-1691-464E-A949-6ACBD9E1E1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2E76339-6945-4FB8-A45C-192A75F702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3A97F01-3D99-4B64-968C-F5E0681626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F435330-FF11-418A-9ECB-9FE5B0F10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E5647BB-C6BD-4DD4-A96C-64F37EC427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480.52710000000002</c:v>
                </c:pt>
                <c:pt idx="1">
                  <c:v>555.99919999999997</c:v>
                </c:pt>
                <c:pt idx="2">
                  <c:v>351.44110000000001</c:v>
                </c:pt>
              </c:numCache>
            </c:numRef>
          </c:xVal>
          <c:yVal>
            <c:numRef>
              <c:f>Sheet1!$B$2:$B$4</c:f>
              <c:numCache>
                <c:formatCode>General</c:formatCode>
                <c:ptCount val="3"/>
                <c:pt idx="0">
                  <c:v>1.476</c:v>
                </c:pt>
                <c:pt idx="1">
                  <c:v>0.68400000000000005</c:v>
                </c:pt>
                <c:pt idx="2">
                  <c:v>0.26</c:v>
                </c:pt>
              </c:numCache>
            </c:numRef>
          </c:yVal>
          <c:bubbleSize>
            <c:numRef>
              <c:f>Sheet1!$C$2:$C$4</c:f>
              <c:numCache>
                <c:formatCode>General</c:formatCode>
                <c:ptCount val="3"/>
                <c:pt idx="0">
                  <c:v>35235613</c:v>
                </c:pt>
                <c:pt idx="1">
                  <c:v>12520547</c:v>
                </c:pt>
                <c:pt idx="2">
                  <c:v>2155740</c:v>
                </c:pt>
              </c:numCache>
            </c:numRef>
          </c:bubbleSize>
          <c:bubble3D val="0"/>
          <c:extLst>
            <c:ext xmlns:c15="http://schemas.microsoft.com/office/drawing/2012/chart" uri="{02D57815-91ED-43cb-92C2-25804820EDAC}">
              <c15:datalabelsRange>
                <c15:f>Sheet1!$E$2:$E$10</c15:f>
                <c15:dlblRangeCache>
                  <c:ptCount val="9"/>
                  <c:pt idx="0">
                    <c:v>Isdin</c:v>
                  </c:pt>
                  <c:pt idx="1">
                    <c:v>Ifc</c:v>
                  </c:pt>
                  <c:pt idx="2">
                    <c:v>J&amp;J</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7"/>
          <c:min val="28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AEEC01B-FB5C-49F1-A169-28B5DA71FE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571E709-A691-4662-8049-AFB60A91D1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8307B92-9C5D-4939-917D-C52E4BC3B8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8EF00B2-78D1-4F64-8D9E-7EBE5240A2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FEB190B-B138-4B47-8433-56A015CE43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D98B2F0-8539-4AEC-B808-093A493436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E3995FA-4646-4EF3-A1DF-C548694CB5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3AA4A2F-FF40-4D77-A585-2011EB3BD4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588.25030000000004</c:v>
                </c:pt>
                <c:pt idx="1">
                  <c:v>652.13699999999994</c:v>
                </c:pt>
                <c:pt idx="2">
                  <c:v>698.27750000000003</c:v>
                </c:pt>
                <c:pt idx="3">
                  <c:v>776.75390000000004</c:v>
                </c:pt>
              </c:numCache>
            </c:numRef>
          </c:xVal>
          <c:yVal>
            <c:numRef>
              <c:f>Sheet1!$B$2:$B$5</c:f>
              <c:numCache>
                <c:formatCode>General</c:formatCode>
                <c:ptCount val="4"/>
                <c:pt idx="0">
                  <c:v>1.615</c:v>
                </c:pt>
                <c:pt idx="1">
                  <c:v>0.73799999999999999</c:v>
                </c:pt>
                <c:pt idx="2">
                  <c:v>0.79</c:v>
                </c:pt>
                <c:pt idx="3">
                  <c:v>0.95699999999999996</c:v>
                </c:pt>
              </c:numCache>
            </c:numRef>
          </c:yVal>
          <c:bubbleSize>
            <c:numRef>
              <c:f>Sheet1!$C$2:$C$5</c:f>
              <c:numCache>
                <c:formatCode>General</c:formatCode>
                <c:ptCount val="4"/>
                <c:pt idx="0">
                  <c:v>25311821</c:v>
                </c:pt>
                <c:pt idx="1">
                  <c:v>21728553</c:v>
                </c:pt>
                <c:pt idx="2">
                  <c:v>3737181</c:v>
                </c:pt>
                <c:pt idx="3">
                  <c:v>602761</c:v>
                </c:pt>
              </c:numCache>
            </c:numRef>
          </c:bubbleSize>
          <c:bubble3D val="0"/>
          <c:extLst>
            <c:ext xmlns:c15="http://schemas.microsoft.com/office/drawing/2012/chart" uri="{02D57815-91ED-43cb-92C2-25804820EDAC}">
              <c15:datalabelsRange>
                <c15:f>Sheet1!$E$2:$E$10</c15:f>
                <c15:dlblRangeCache>
                  <c:ptCount val="9"/>
                  <c:pt idx="0">
                    <c:v>L'Oreal</c:v>
                  </c:pt>
                  <c:pt idx="1">
                    <c:v>Isdin</c:v>
                  </c:pt>
                  <c:pt idx="2">
                    <c:v>Ifc</c:v>
                  </c:pt>
                  <c:pt idx="3">
                    <c:v>Pierre Fab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32"/>
          <c:min val="47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0154605-73F8-4AF5-82F1-949F45841E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2D9FB69-CD33-4717-AF28-E2378CAE62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EA4499A-AAEA-434D-A57C-51B7BDDB02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BAAC565-02F5-4CA3-8055-A4E2C52710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091034F-790C-40A9-B1C8-5904625F40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F9F360F-EB37-4AC2-A055-013ED0793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81B46A4-715D-4FD6-BA89-CA8365A7DD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8A3171F-003E-4EA3-A2B9-0DD6E83A6B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26.56700000000001</c:v>
                </c:pt>
                <c:pt idx="1">
                  <c:v>434.22210000000001</c:v>
                </c:pt>
                <c:pt idx="2">
                  <c:v>624.91539999999998</c:v>
                </c:pt>
                <c:pt idx="3">
                  <c:v>681.68029999999999</c:v>
                </c:pt>
                <c:pt idx="4">
                  <c:v>322.411</c:v>
                </c:pt>
                <c:pt idx="5">
                  <c:v>280.69619999999998</c:v>
                </c:pt>
                <c:pt idx="6">
                  <c:v>627.55100000000004</c:v>
                </c:pt>
                <c:pt idx="7">
                  <c:v>745.46540000000005</c:v>
                </c:pt>
              </c:numCache>
            </c:numRef>
          </c:xVal>
          <c:yVal>
            <c:numRef>
              <c:f>Sheet1!$B$2:$B$9</c:f>
              <c:numCache>
                <c:formatCode>General</c:formatCode>
                <c:ptCount val="8"/>
                <c:pt idx="0">
                  <c:v>2.653</c:v>
                </c:pt>
                <c:pt idx="1">
                  <c:v>1.03</c:v>
                </c:pt>
                <c:pt idx="2">
                  <c:v>1.784</c:v>
                </c:pt>
                <c:pt idx="3">
                  <c:v>1.5669999999999999</c:v>
                </c:pt>
                <c:pt idx="4">
                  <c:v>0.76</c:v>
                </c:pt>
                <c:pt idx="5">
                  <c:v>0.25900000000000001</c:v>
                </c:pt>
                <c:pt idx="6">
                  <c:v>2.706</c:v>
                </c:pt>
                <c:pt idx="7">
                  <c:v>4.8849999999999998</c:v>
                </c:pt>
              </c:numCache>
            </c:numRef>
          </c:yVal>
          <c:bubbleSize>
            <c:numRef>
              <c:f>Sheet1!$C$2:$C$9</c:f>
              <c:numCache>
                <c:formatCode>General</c:formatCode>
                <c:ptCount val="8"/>
                <c:pt idx="0">
                  <c:v>236836703</c:v>
                </c:pt>
                <c:pt idx="1">
                  <c:v>153522705</c:v>
                </c:pt>
                <c:pt idx="2">
                  <c:v>126182294</c:v>
                </c:pt>
                <c:pt idx="3">
                  <c:v>115911547</c:v>
                </c:pt>
                <c:pt idx="4">
                  <c:v>58967363</c:v>
                </c:pt>
                <c:pt idx="5">
                  <c:v>50972469</c:v>
                </c:pt>
                <c:pt idx="6">
                  <c:v>44488346</c:v>
                </c:pt>
                <c:pt idx="7">
                  <c:v>42071086</c:v>
                </c:pt>
              </c:numCache>
            </c:numRef>
          </c:bubbleSize>
          <c:bubble3D val="0"/>
          <c:extLst>
            <c:ext xmlns:c15="http://schemas.microsoft.com/office/drawing/2012/chart" uri="{02D57815-91ED-43cb-92C2-25804820EDAC}">
              <c15:datalabelsRange>
                <c15:f>Sheet1!$E$2:$E$10</c15:f>
                <c15:dlblRangeCache>
                  <c:ptCount val="9"/>
                  <c:pt idx="0">
                    <c:v>Isdin</c:v>
                  </c:pt>
                  <c:pt idx="1">
                    <c:v>Beiersdorf</c:v>
                  </c:pt>
                  <c:pt idx="2">
                    <c:v>L'Oreal</c:v>
                  </c:pt>
                  <c:pt idx="3">
                    <c:v>Pierre Fabre</c:v>
                  </c:pt>
                  <c:pt idx="4">
                    <c:v>J&amp;J</c:v>
                  </c:pt>
                  <c:pt idx="5">
                    <c:v>Edgewell</c:v>
                  </c:pt>
                  <c:pt idx="6">
                    <c:v>Ifc</c:v>
                  </c:pt>
                  <c:pt idx="7">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5"/>
          <c:min val="2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8998818-91B3-4011-9888-3B6D493CC8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3388764-B686-491E-9F9F-FAC4EC3CA1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8B694F7-C998-490D-900A-E4285D58FF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8946874-7937-4E4D-AF3E-160D33C89C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2D4E9BD-3E91-4C9D-9138-7C5E86757B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B95C7E4-DC28-4A45-8FA8-521E38B3A1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D4871E2-3F37-44E0-BDB1-6B1512B48B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A6E7E9F-7C10-4580-8FBD-CEE17DD6D4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29.39239999999995</c:v>
                </c:pt>
                <c:pt idx="1">
                  <c:v>646.77200000000005</c:v>
                </c:pt>
                <c:pt idx="2">
                  <c:v>772.65</c:v>
                </c:pt>
                <c:pt idx="3">
                  <c:v>639.43899999999996</c:v>
                </c:pt>
                <c:pt idx="4">
                  <c:v>501.91669999999999</c:v>
                </c:pt>
                <c:pt idx="5">
                  <c:v>658.16420000000005</c:v>
                </c:pt>
              </c:numCache>
            </c:numRef>
          </c:xVal>
          <c:yVal>
            <c:numRef>
              <c:f>Sheet1!$B$2:$B$7</c:f>
              <c:numCache>
                <c:formatCode>General</c:formatCode>
                <c:ptCount val="6"/>
                <c:pt idx="0">
                  <c:v>0.92800000000000005</c:v>
                </c:pt>
                <c:pt idx="1">
                  <c:v>0.97399999999999998</c:v>
                </c:pt>
                <c:pt idx="2">
                  <c:v>1.2689999999999999</c:v>
                </c:pt>
                <c:pt idx="3">
                  <c:v>0.93799999999999994</c:v>
                </c:pt>
                <c:pt idx="4">
                  <c:v>0.81499999999999995</c:v>
                </c:pt>
                <c:pt idx="5">
                  <c:v>1.468</c:v>
                </c:pt>
              </c:numCache>
            </c:numRef>
          </c:yVal>
          <c:bubbleSize>
            <c:numRef>
              <c:f>Sheet1!$C$2:$C$7</c:f>
              <c:numCache>
                <c:formatCode>General</c:formatCode>
                <c:ptCount val="6"/>
                <c:pt idx="0">
                  <c:v>120217088</c:v>
                </c:pt>
                <c:pt idx="1">
                  <c:v>55895332</c:v>
                </c:pt>
                <c:pt idx="2">
                  <c:v>51773732</c:v>
                </c:pt>
                <c:pt idx="3">
                  <c:v>23370856</c:v>
                </c:pt>
                <c:pt idx="4">
                  <c:v>22309694</c:v>
                </c:pt>
                <c:pt idx="5">
                  <c:v>15586645</c:v>
                </c:pt>
              </c:numCache>
            </c:numRef>
          </c:bubbleSize>
          <c:bubble3D val="0"/>
          <c:extLst>
            <c:ext xmlns:c15="http://schemas.microsoft.com/office/drawing/2012/chart" uri="{02D57815-91ED-43cb-92C2-25804820EDAC}">
              <c15:datalabelsRange>
                <c15:f>Sheet1!$E$2:$E$10</c15:f>
                <c15:dlblRangeCache>
                  <c:ptCount val="9"/>
                  <c:pt idx="0">
                    <c:v>L'Oreal</c:v>
                  </c:pt>
                  <c:pt idx="1">
                    <c:v>Isdin</c:v>
                  </c:pt>
                  <c:pt idx="2">
                    <c:v>Pierre Fabre</c:v>
                  </c:pt>
                  <c:pt idx="3">
                    <c:v>Ifc</c:v>
                  </c:pt>
                  <c:pt idx="4">
                    <c:v>Beiersdorf</c:v>
                  </c:pt>
                  <c:pt idx="5">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27"/>
          <c:min val="40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CDD99D7-0D07-42C5-BA2B-9CDBBE5FF3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E7AA071-1C72-4D56-B65A-B8CF5B1123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124C62D-57BE-412B-B358-4B2E42DEA0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7FFE1FB-3AE8-4BE9-8E48-E4B449A5C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AA7ECF4-DD60-4A7F-8638-1CD62FD4E6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B36B4F9-2385-49A9-B367-85DBB98A8E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5532ADF-5FDC-485F-A37E-927D87667D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C2E24CF-C363-4E93-867F-6AA38A925D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506.4409</c:v>
                </c:pt>
                <c:pt idx="1">
                  <c:v>640.50599999999997</c:v>
                </c:pt>
                <c:pt idx="2">
                  <c:v>586.74339999999995</c:v>
                </c:pt>
                <c:pt idx="3">
                  <c:v>661.21299999999997</c:v>
                </c:pt>
                <c:pt idx="4">
                  <c:v>786.29650000000004</c:v>
                </c:pt>
                <c:pt idx="5">
                  <c:v>523.94230000000005</c:v>
                </c:pt>
              </c:numCache>
            </c:numRef>
          </c:xVal>
          <c:yVal>
            <c:numRef>
              <c:f>Sheet1!$B$2:$B$7</c:f>
              <c:numCache>
                <c:formatCode>General</c:formatCode>
                <c:ptCount val="6"/>
                <c:pt idx="0">
                  <c:v>1.026</c:v>
                </c:pt>
                <c:pt idx="1">
                  <c:v>0.58799999999999997</c:v>
                </c:pt>
                <c:pt idx="2">
                  <c:v>2.6509999999999998</c:v>
                </c:pt>
                <c:pt idx="3">
                  <c:v>2.6960000000000002</c:v>
                </c:pt>
                <c:pt idx="4">
                  <c:v>6.0030000000000001</c:v>
                </c:pt>
                <c:pt idx="5">
                  <c:v>1.18</c:v>
                </c:pt>
              </c:numCache>
            </c:numRef>
          </c:yVal>
          <c:bubbleSize>
            <c:numRef>
              <c:f>Sheet1!$C$2:$C$7</c:f>
              <c:numCache>
                <c:formatCode>General</c:formatCode>
                <c:ptCount val="6"/>
                <c:pt idx="0">
                  <c:v>99762783</c:v>
                </c:pt>
                <c:pt idx="1">
                  <c:v>88726737</c:v>
                </c:pt>
                <c:pt idx="2">
                  <c:v>51697378</c:v>
                </c:pt>
                <c:pt idx="3">
                  <c:v>21966819</c:v>
                </c:pt>
                <c:pt idx="4">
                  <c:v>10846174</c:v>
                </c:pt>
                <c:pt idx="5">
                  <c:v>4515335</c:v>
                </c:pt>
              </c:numCache>
            </c:numRef>
          </c:bubbleSize>
          <c:bubble3D val="0"/>
          <c:extLst>
            <c:ext xmlns:c15="http://schemas.microsoft.com/office/drawing/2012/chart" uri="{02D57815-91ED-43cb-92C2-25804820EDAC}">
              <c15:datalabelsRange>
                <c15:f>Sheet1!$E$2:$E$10</c15:f>
                <c15:dlblRangeCache>
                  <c:ptCount val="9"/>
                  <c:pt idx="0">
                    <c:v>Beiersdorf</c:v>
                  </c:pt>
                  <c:pt idx="1">
                    <c:v>Isdin</c:v>
                  </c:pt>
                  <c:pt idx="2">
                    <c:v>L'Oreal</c:v>
                  </c:pt>
                  <c:pt idx="3">
                    <c:v>Ifc</c:v>
                  </c:pt>
                  <c:pt idx="4">
                    <c:v>Bioderma</c:v>
                  </c:pt>
                  <c:pt idx="5">
                    <c:v>Gal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44"/>
          <c:min val="40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F3BF9ABB-4E9F-4175-BF7D-3B0B0D9582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30EEA336-7ACD-460F-9A8A-4C75BFB12C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E0214499-8D66-4AB3-89AB-4103E5552C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B9B56951-0479-4DB2-A5A5-4A39E6096C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516D321D-6211-4851-BE2F-AB14891A1E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AF24E61E-AD18-433E-B6A5-00E2450BA2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2B2BD1F5-A529-4EE6-8099-61406A4A37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AAC8A302-F181-4462-8602-256E2D6DD2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678.49900000000002</c:v>
                </c:pt>
                <c:pt idx="1">
                  <c:v>788.79700000000003</c:v>
                </c:pt>
              </c:numCache>
            </c:numRef>
          </c:xVal>
          <c:yVal>
            <c:numRef>
              <c:f>Sheet1!$B$2:$B$3</c:f>
              <c:numCache>
                <c:formatCode>General</c:formatCode>
                <c:ptCount val="2"/>
                <c:pt idx="0">
                  <c:v>0.90100000000000002</c:v>
                </c:pt>
                <c:pt idx="1">
                  <c:v>2.1040000000000001</c:v>
                </c:pt>
              </c:numCache>
            </c:numRef>
          </c:yVal>
          <c:bubbleSize>
            <c:numRef>
              <c:f>Sheet1!$C$2:$C$3</c:f>
              <c:numCache>
                <c:formatCode>General</c:formatCode>
                <c:ptCount val="2"/>
                <c:pt idx="0">
                  <c:v>34963731</c:v>
                </c:pt>
                <c:pt idx="1">
                  <c:v>7290851</c:v>
                </c:pt>
              </c:numCache>
            </c:numRef>
          </c:bubbleSize>
          <c:bubble3D val="0"/>
          <c:extLst>
            <c:ext xmlns:c15="http://schemas.microsoft.com/office/drawing/2012/chart" uri="{02D57815-91ED-43cb-92C2-25804820EDAC}">
              <c15:datalabelsRange>
                <c15:f>Sheet1!$E$2:$E$10</c15:f>
                <c15:dlblRangeCache>
                  <c:ptCount val="9"/>
                  <c:pt idx="0">
                    <c:v>Eucerin</c:v>
                  </c:pt>
                  <c:pt idx="1">
                    <c:v>Photoderm</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47"/>
          <c:min val="54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C7BA7DD-26EC-4694-8A39-0463B5B4D0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E739327-868B-4F47-B586-D7721B0816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F21D9D8-CF84-438B-9E82-678E9B1FBA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611E9C4-CDC8-48B1-A784-8C02E772B1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2A21489-7902-4DE4-B1F4-2B08BBBB46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54EE327-6A5F-49AB-AC69-15CCE0256E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7741520-F9EB-4F43-A006-B60513A48E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82E0C87-37D6-4DB4-833F-0D7F0B4BC2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693.9</c:v>
                </c:pt>
                <c:pt idx="1">
                  <c:v>831.80759999999998</c:v>
                </c:pt>
              </c:numCache>
            </c:numRef>
          </c:xVal>
          <c:yVal>
            <c:numRef>
              <c:f>Sheet1!$B$2:$B$3</c:f>
              <c:numCache>
                <c:formatCode>General</c:formatCode>
                <c:ptCount val="2"/>
                <c:pt idx="0">
                  <c:v>0.88400000000000001</c:v>
                </c:pt>
                <c:pt idx="1">
                  <c:v>2.4860000000000002</c:v>
                </c:pt>
              </c:numCache>
            </c:numRef>
          </c:yVal>
          <c:bubbleSize>
            <c:numRef>
              <c:f>Sheet1!$C$2:$C$3</c:f>
              <c:numCache>
                <c:formatCode>General</c:formatCode>
                <c:ptCount val="2"/>
                <c:pt idx="0">
                  <c:v>31886093</c:v>
                </c:pt>
                <c:pt idx="1">
                  <c:v>6997997</c:v>
                </c:pt>
              </c:numCache>
            </c:numRef>
          </c:bubbleSize>
          <c:bubble3D val="0"/>
          <c:extLst>
            <c:ext xmlns:c15="http://schemas.microsoft.com/office/drawing/2012/chart" uri="{02D57815-91ED-43cb-92C2-25804820EDAC}">
              <c15:datalabelsRange>
                <c15:f>Sheet1!$E$2:$E$10</c15:f>
                <c15:dlblRangeCache>
                  <c:ptCount val="9"/>
                  <c:pt idx="0">
                    <c:v>Beiersdorf</c:v>
                  </c:pt>
                  <c:pt idx="1">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98"/>
          <c:min val="55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C51C704-A0AC-45B0-B3EA-C3C39153DF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E0F0BD0-69A2-4E97-A4F1-40A04B33FE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03B967D-DCB1-48CE-B186-3E31EFCC7B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1B80A13-5FE5-4FDF-B9FE-D7CBFC9FEA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F884CFD-64DD-4B6C-877B-CE9F6C4F64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C8B4C5B-BD2B-42C9-898B-1F4FAF6743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4B595B8-7ED1-49DD-B9BB-BBCA3E7660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655BAC8-7C20-4AA0-8C83-FCC8E13AC1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13.26769999999999</c:v>
                </c:pt>
                <c:pt idx="1">
                  <c:v>261.03250000000003</c:v>
                </c:pt>
                <c:pt idx="2">
                  <c:v>418.60430000000002</c:v>
                </c:pt>
                <c:pt idx="3">
                  <c:v>637.64200000000005</c:v>
                </c:pt>
                <c:pt idx="4">
                  <c:v>614.92139999999995</c:v>
                </c:pt>
                <c:pt idx="5">
                  <c:v>524.34870000000001</c:v>
                </c:pt>
              </c:numCache>
            </c:numRef>
          </c:xVal>
          <c:yVal>
            <c:numRef>
              <c:f>Sheet1!$B$2:$B$7</c:f>
              <c:numCache>
                <c:formatCode>General</c:formatCode>
                <c:ptCount val="6"/>
                <c:pt idx="0">
                  <c:v>0.68100000000000005</c:v>
                </c:pt>
                <c:pt idx="1">
                  <c:v>0.81899999999999995</c:v>
                </c:pt>
                <c:pt idx="2">
                  <c:v>3.298</c:v>
                </c:pt>
                <c:pt idx="3">
                  <c:v>3.8740000000000001</c:v>
                </c:pt>
                <c:pt idx="4">
                  <c:v>1.23</c:v>
                </c:pt>
                <c:pt idx="5">
                  <c:v>2.0019999999999998</c:v>
                </c:pt>
              </c:numCache>
            </c:numRef>
          </c:yVal>
          <c:bubbleSize>
            <c:numRef>
              <c:f>Sheet1!$C$2:$C$7</c:f>
              <c:numCache>
                <c:formatCode>General</c:formatCode>
                <c:ptCount val="6"/>
                <c:pt idx="0">
                  <c:v>99469358</c:v>
                </c:pt>
                <c:pt idx="1">
                  <c:v>81705252</c:v>
                </c:pt>
                <c:pt idx="2">
                  <c:v>17339846</c:v>
                </c:pt>
                <c:pt idx="3">
                  <c:v>13405148</c:v>
                </c:pt>
                <c:pt idx="4">
                  <c:v>7937406</c:v>
                </c:pt>
                <c:pt idx="5">
                  <c:v>7648674</c:v>
                </c:pt>
              </c:numCache>
            </c:numRef>
          </c:bubbleSize>
          <c:bubble3D val="0"/>
          <c:extLst>
            <c:ext xmlns:c15="http://schemas.microsoft.com/office/drawing/2012/chart" uri="{02D57815-91ED-43cb-92C2-25804820EDAC}">
              <c15:datalabelsRange>
                <c15:f>Sheet1!$E$2:$E$10</c15:f>
                <c15:dlblRangeCache>
                  <c:ptCount val="9"/>
                  <c:pt idx="0">
                    <c:v>Edgewell</c:v>
                  </c:pt>
                  <c:pt idx="1">
                    <c:v>Beiersdorf</c:v>
                  </c:pt>
                  <c:pt idx="2">
                    <c:v>L'Oreal</c:v>
                  </c:pt>
                  <c:pt idx="3">
                    <c:v>Isdin</c:v>
                  </c:pt>
                  <c:pt idx="4">
                    <c:v>Pierre Fabre</c:v>
                  </c:pt>
                  <c:pt idx="5">
                    <c:v>Gal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65"/>
          <c:min val="17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BC0299C-B831-4C14-8D79-DC5836D97A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64B41DE-8886-4D09-97E7-E43D7319A6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E9CBEA6-CDBA-4B20-8F2E-F303681CB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F877890-ECC2-4D54-B0A8-2A387C219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CCB948A-0B1C-4A37-9739-FCF9B174B3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27821DD-423B-4A32-AF1B-F223DCFC26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365B641-4A5D-4101-B8C6-37FB39534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30784C3-8BE5-4F86-BA6C-4CA3B1C93D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99.21340000000001</c:v>
                </c:pt>
                <c:pt idx="1">
                  <c:v>648.63059999999996</c:v>
                </c:pt>
                <c:pt idx="2">
                  <c:v>331.2047</c:v>
                </c:pt>
                <c:pt idx="3">
                  <c:v>721.35090000000002</c:v>
                </c:pt>
                <c:pt idx="4">
                  <c:v>412.82</c:v>
                </c:pt>
              </c:numCache>
            </c:numRef>
          </c:xVal>
          <c:yVal>
            <c:numRef>
              <c:f>Sheet1!$B$2:$B$6</c:f>
              <c:numCache>
                <c:formatCode>General</c:formatCode>
                <c:ptCount val="5"/>
                <c:pt idx="0">
                  <c:v>0.81399999999999995</c:v>
                </c:pt>
                <c:pt idx="1">
                  <c:v>1.363</c:v>
                </c:pt>
                <c:pt idx="2">
                  <c:v>2.7040000000000002</c:v>
                </c:pt>
                <c:pt idx="3">
                  <c:v>2.4049999999999998</c:v>
                </c:pt>
                <c:pt idx="4">
                  <c:v>4.4470000000000001</c:v>
                </c:pt>
              </c:numCache>
            </c:numRef>
          </c:yVal>
          <c:bubbleSize>
            <c:numRef>
              <c:f>Sheet1!$C$2:$C$6</c:f>
              <c:numCache>
                <c:formatCode>General</c:formatCode>
                <c:ptCount val="5"/>
                <c:pt idx="0">
                  <c:v>24318781</c:v>
                </c:pt>
                <c:pt idx="1">
                  <c:v>4895215</c:v>
                </c:pt>
                <c:pt idx="2">
                  <c:v>2831469</c:v>
                </c:pt>
                <c:pt idx="3">
                  <c:v>2783693</c:v>
                </c:pt>
                <c:pt idx="4">
                  <c:v>1969977</c:v>
                </c:pt>
              </c:numCache>
            </c:numRef>
          </c:bubbleSize>
          <c:bubble3D val="0"/>
          <c:extLst>
            <c:ext xmlns:c15="http://schemas.microsoft.com/office/drawing/2012/chart" uri="{02D57815-91ED-43cb-92C2-25804820EDAC}">
              <c15:datalabelsRange>
                <c15:f>Sheet1!$E$2:$E$10</c15:f>
                <c15:dlblRangeCache>
                  <c:ptCount val="9"/>
                  <c:pt idx="0">
                    <c:v>Edgewell</c:v>
                  </c:pt>
                  <c:pt idx="1">
                    <c:v>Isdin</c:v>
                  </c:pt>
                  <c:pt idx="2">
                    <c:v>Glaxosmithkline</c:v>
                  </c:pt>
                  <c:pt idx="3">
                    <c:v>L'Oreal</c:v>
                  </c:pt>
                  <c:pt idx="4">
                    <c:v>Labs. Expanscie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66"/>
          <c:min val="1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3233B7B-D4C5-4A6D-A267-C5DC78AC0F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CD134577-5B53-4B9F-B749-EDB1715B88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DE4568A-B0C8-41E8-ACD9-CA145DFE4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C1910D1-AF5F-4B47-B4CF-4580FB8266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8D52F4E-0287-4B50-8EBC-EE98A89C30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931EEEA-EF19-4AF4-A69D-5F6BAF0579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B403EB2-03F9-4FD8-B25F-18C7D0FD9C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2ACA29E-BE0B-42FC-BAC0-74C799D414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68.09210000000002</c:v>
                </c:pt>
              </c:numCache>
            </c:numRef>
          </c:xVal>
          <c:yVal>
            <c:numRef>
              <c:f>Sheet1!$B$2:$B$2</c:f>
              <c:numCache>
                <c:formatCode>General</c:formatCode>
                <c:ptCount val="1"/>
                <c:pt idx="0">
                  <c:v>1</c:v>
                </c:pt>
              </c:numCache>
            </c:numRef>
          </c:yVal>
          <c:bubbleSize>
            <c:numRef>
              <c:f>Sheet1!$C$2:$C$2</c:f>
              <c:numCache>
                <c:formatCode>General</c:formatCode>
                <c:ptCount val="1"/>
                <c:pt idx="0">
                  <c:v>238602</c:v>
                </c:pt>
              </c:numCache>
            </c:numRef>
          </c:bubbleSize>
          <c:bubble3D val="0"/>
          <c:extLst>
            <c:ext xmlns:c15="http://schemas.microsoft.com/office/drawing/2012/chart" uri="{02D57815-91ED-43cb-92C2-25804820EDAC}">
              <c15:datalabelsRange>
                <c15:f>Sheet1!$E$2:$E$10</c15:f>
                <c15:dlblRangeCache>
                  <c:ptCount val="9"/>
                  <c:pt idx="0">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2"/>
          <c:min val="2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03CC9DB-34CF-4D89-9802-7148275646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1BB5D584-7375-483B-9766-2106184A57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207888D-0A93-45A7-8AD0-541AB1ADE3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9C3CED6-A353-4E64-8B64-4FC2EF2C4D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DEB6B7D-77FA-4B00-B6F2-4D72AFF2CA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41C42B8-51A8-447E-BF2A-8A2B33A94A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8DD0B0E-D734-47F6-8F29-951BAAFAE1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7B6FBDB-CD8B-470C-A6D1-BE2A8A48A8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34.5549</c:v>
                </c:pt>
              </c:numCache>
            </c:numRef>
          </c:xVal>
          <c:yVal>
            <c:numRef>
              <c:f>Sheet1!$B$2:$B$2</c:f>
              <c:numCache>
                <c:formatCode>General</c:formatCode>
                <c:ptCount val="1"/>
                <c:pt idx="0">
                  <c:v>0.80300000000000005</c:v>
                </c:pt>
              </c:numCache>
            </c:numRef>
          </c:yVal>
          <c:bubbleSize>
            <c:numRef>
              <c:f>Sheet1!$C$2:$C$2</c:f>
              <c:numCache>
                <c:formatCode>General</c:formatCode>
                <c:ptCount val="1"/>
                <c:pt idx="0">
                  <c:v>3247882</c:v>
                </c:pt>
              </c:numCache>
            </c:numRef>
          </c:bubbleSize>
          <c:bubble3D val="0"/>
          <c:extLst>
            <c:ext xmlns:c15="http://schemas.microsoft.com/office/drawing/2012/chart" uri="{02D57815-91ED-43cb-92C2-25804820EDAC}">
              <c15:datalabelsRange>
                <c15:f>Sheet1!$E$2:$E$10</c15:f>
                <c15:dlblRangeCache>
                  <c:ptCount val="9"/>
                  <c:pt idx="0">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1"/>
          <c:min val="18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58CB62-EFF3-4DEC-8C00-54EB897F36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F72347B-B5FE-4DC5-A321-482DEEB8DD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98E5C60-950F-4CFB-BFC4-3A0763529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96239E8-F088-42D2-AD76-751965AD8E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F2D681D-B74D-40E7-B755-A656368E75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5A0A329-8273-4CF7-8C6A-95903B6F94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C6FCAA0-0D6D-41F3-9C33-629E1AA22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A6E983E-D186-44D8-9A47-3739E7B26C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750.1001</c:v>
                </c:pt>
                <c:pt idx="1">
                  <c:v>1110.2319</c:v>
                </c:pt>
                <c:pt idx="2">
                  <c:v>631.07150000000001</c:v>
                </c:pt>
              </c:numCache>
            </c:numRef>
          </c:xVal>
          <c:yVal>
            <c:numRef>
              <c:f>Sheet1!$B$2:$B$4</c:f>
              <c:numCache>
                <c:formatCode>General</c:formatCode>
                <c:ptCount val="3"/>
                <c:pt idx="0">
                  <c:v>0.89700000000000002</c:v>
                </c:pt>
                <c:pt idx="1">
                  <c:v>1.853</c:v>
                </c:pt>
                <c:pt idx="2">
                  <c:v>1.6910000000000001</c:v>
                </c:pt>
              </c:numCache>
            </c:numRef>
          </c:yVal>
          <c:bubbleSize>
            <c:numRef>
              <c:f>Sheet1!$C$2:$C$4</c:f>
              <c:numCache>
                <c:formatCode>General</c:formatCode>
                <c:ptCount val="3"/>
                <c:pt idx="0">
                  <c:v>20864033</c:v>
                </c:pt>
                <c:pt idx="1">
                  <c:v>3767017</c:v>
                </c:pt>
                <c:pt idx="2">
                  <c:v>2206857</c:v>
                </c:pt>
              </c:numCache>
            </c:numRef>
          </c:bubbleSize>
          <c:bubble3D val="0"/>
          <c:extLst>
            <c:ext xmlns:c15="http://schemas.microsoft.com/office/drawing/2012/chart" uri="{02D57815-91ED-43cb-92C2-25804820EDAC}">
              <c15:datalabelsRange>
                <c15:f>Sheet1!$E$2:$E$10</c15:f>
                <c15:dlblRangeCache>
                  <c:ptCount val="9"/>
                  <c:pt idx="0">
                    <c:v>Bioderma</c:v>
                  </c:pt>
                  <c:pt idx="1">
                    <c:v>L'Oreal</c:v>
                  </c:pt>
                  <c:pt idx="2">
                    <c:v>Genove Lab.</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32"/>
          <c:min val="50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4D58605-1545-412C-8853-C8199175D7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7D12D8B-5221-4951-8E46-140194DA48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F4E7263-D41A-40A9-9D95-D99B21482A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1648421-4E6F-4467-9E15-BE26BF9AAF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0014CDF-CB39-4BC9-B33B-A46BD13D1A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F72E037-86C7-4EB9-B45B-AB4A3D1C02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1155EEA-786A-4AC3-AE1F-708A710FE1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5346E74-5E78-48E7-9B43-4E40C93AA8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489.36520000000002</c:v>
                </c:pt>
                <c:pt idx="1">
                  <c:v>555.08360000000005</c:v>
                </c:pt>
              </c:numCache>
            </c:numRef>
          </c:xVal>
          <c:yVal>
            <c:numRef>
              <c:f>Sheet1!$B$2:$B$3</c:f>
              <c:numCache>
                <c:formatCode>General</c:formatCode>
                <c:ptCount val="2"/>
                <c:pt idx="0">
                  <c:v>1.357</c:v>
                </c:pt>
                <c:pt idx="1">
                  <c:v>0.60499999999999998</c:v>
                </c:pt>
              </c:numCache>
            </c:numRef>
          </c:yVal>
          <c:bubbleSize>
            <c:numRef>
              <c:f>Sheet1!$C$2:$C$3</c:f>
              <c:numCache>
                <c:formatCode>General</c:formatCode>
                <c:ptCount val="2"/>
                <c:pt idx="0">
                  <c:v>30527089</c:v>
                </c:pt>
                <c:pt idx="1">
                  <c:v>12418886</c:v>
                </c:pt>
              </c:numCache>
            </c:numRef>
          </c:bubbleSize>
          <c:bubble3D val="0"/>
          <c:extLst>
            <c:ext xmlns:c15="http://schemas.microsoft.com/office/drawing/2012/chart" uri="{02D57815-91ED-43cb-92C2-25804820EDAC}">
              <c15:datalabelsRange>
                <c15:f>Sheet1!$E$2:$E$10</c15:f>
                <c15:dlblRangeCache>
                  <c:ptCount val="9"/>
                  <c:pt idx="0">
                    <c:v>Isdin</c:v>
                  </c:pt>
                  <c:pt idx="1">
                    <c:v>If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6"/>
          <c:min val="39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352C178-262A-49FE-8765-0542F36C6B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9C90C7B-1230-4813-A9A0-135EF37F8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9FEC16B-BD2F-4C67-B554-D1E8886655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72A15F6-52FE-4753-ACC9-23F44DF865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27CBD26-3752-4AFC-8D15-FA7793573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CCC9D5C-7835-4737-A506-D7EB9BCEF4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923E092-19E0-45B4-98C6-3978A27A2A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7628123-3E2B-4A26-B5D0-54B4BB53DC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2.5838</c:v>
                </c:pt>
                <c:pt idx="1">
                  <c:v>427.95409999999998</c:v>
                </c:pt>
                <c:pt idx="2">
                  <c:v>235.029</c:v>
                </c:pt>
                <c:pt idx="3">
                  <c:v>75.024699999999996</c:v>
                </c:pt>
                <c:pt idx="4">
                  <c:v>96.877300000000005</c:v>
                </c:pt>
                <c:pt idx="5">
                  <c:v>291.05380000000002</c:v>
                </c:pt>
              </c:numCache>
            </c:numRef>
          </c:xVal>
          <c:yVal>
            <c:numRef>
              <c:f>Sheet1!$B$2:$B$7</c:f>
              <c:numCache>
                <c:formatCode>General</c:formatCode>
                <c:ptCount val="6"/>
                <c:pt idx="0">
                  <c:v>2.1219999999999999</c:v>
                </c:pt>
                <c:pt idx="1">
                  <c:v>6.7889999999999997</c:v>
                </c:pt>
                <c:pt idx="2">
                  <c:v>0.8</c:v>
                </c:pt>
                <c:pt idx="3">
                  <c:v>0.45100000000000001</c:v>
                </c:pt>
                <c:pt idx="4">
                  <c:v>0.63</c:v>
                </c:pt>
                <c:pt idx="5">
                  <c:v>1.8180000000000001</c:v>
                </c:pt>
              </c:numCache>
            </c:numRef>
          </c:yVal>
          <c:bubbleSize>
            <c:numRef>
              <c:f>Sheet1!$C$2:$C$7</c:f>
              <c:numCache>
                <c:formatCode>General</c:formatCode>
                <c:ptCount val="6"/>
                <c:pt idx="0">
                  <c:v>3097552</c:v>
                </c:pt>
                <c:pt idx="1">
                  <c:v>1947191</c:v>
                </c:pt>
                <c:pt idx="2">
                  <c:v>1626871</c:v>
                </c:pt>
                <c:pt idx="3">
                  <c:v>1470709</c:v>
                </c:pt>
                <c:pt idx="4">
                  <c:v>1076307</c:v>
                </c:pt>
                <c:pt idx="5">
                  <c:v>400490</c:v>
                </c:pt>
              </c:numCache>
            </c:numRef>
          </c:bubbleSize>
          <c:bubble3D val="0"/>
          <c:extLst>
            <c:ext xmlns:c15="http://schemas.microsoft.com/office/drawing/2012/chart" uri="{02D57815-91ED-43cb-92C2-25804820EDAC}">
              <c15:datalabelsRange>
                <c15:f>Sheet1!$E$2:$E$10</c15:f>
                <c15:dlblRangeCache>
                  <c:ptCount val="9"/>
                  <c:pt idx="0">
                    <c:v>Beiersdorf</c:v>
                  </c:pt>
                  <c:pt idx="1">
                    <c:v>Isdin</c:v>
                  </c:pt>
                  <c:pt idx="2">
                    <c:v>Edgewell</c:v>
                  </c:pt>
                  <c:pt idx="3">
                    <c:v>Total Care De Mexico</c:v>
                  </c:pt>
                  <c:pt idx="4">
                    <c:v>Inds.Lavin De Mexico</c:v>
                  </c:pt>
                  <c:pt idx="5">
                    <c:v>Glaxosmithkli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14"/>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DCA8442-218F-4AB3-AE2C-755917B18E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2008E56B-C4C9-4E04-B981-FEDA140C5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7CF6320-FCF2-48E6-B0EE-FBD6B0B417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FCAA87D-6AAA-4E5A-8C0B-B620E7F951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BB65A1E-D6D8-4031-8090-46C7422EF7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C84A695-87DC-4F6A-91CB-2B041C1C94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B6C010F-F318-4EBF-B471-2FD7157B04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79FE22E-AAA2-475F-BBD6-72E19F19AA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650.38699999999994</c:v>
                </c:pt>
              </c:numCache>
            </c:numRef>
          </c:xVal>
          <c:yVal>
            <c:numRef>
              <c:f>Sheet1!$B$2:$B$2</c:f>
              <c:numCache>
                <c:formatCode>General</c:formatCode>
                <c:ptCount val="1"/>
                <c:pt idx="0">
                  <c:v>1</c:v>
                </c:pt>
              </c:numCache>
            </c:numRef>
          </c:yVal>
          <c:bubbleSize>
            <c:numRef>
              <c:f>Sheet1!$C$2:$C$2</c:f>
              <c:numCache>
                <c:formatCode>General</c:formatCode>
                <c:ptCount val="1"/>
                <c:pt idx="0">
                  <c:v>290723</c:v>
                </c:pt>
              </c:numCache>
            </c:numRef>
          </c:bubbleSize>
          <c:bubble3D val="0"/>
          <c:extLst>
            <c:ext xmlns:c15="http://schemas.microsoft.com/office/drawing/2012/chart" uri="{02D57815-91ED-43cb-92C2-25804820EDAC}">
              <c15:datalabelsRange>
                <c15:f>Sheet1!$E$2:$E$10</c15:f>
                <c15:dlblRangeCache>
                  <c:ptCount val="9"/>
                  <c:pt idx="0">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0"/>
          <c:min val="5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6CC5DA6-003E-4257-AD97-5A869CEAC9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899F55C-2E99-4F02-8CCC-0767501273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C5CE676-764A-4DDC-9293-BE51B6C4FE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5361F9E-BC2A-476B-8E60-DB31DF0348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7F1BD9B-F696-404B-9FF1-30AD820048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89523CD-6013-4F45-ACF7-9B72EC7947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C168069-2CD0-463E-8D94-8CB09BFF71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B946256-E9F5-450E-AA9B-CD0ACEEA12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77.00709999999998</c:v>
                </c:pt>
                <c:pt idx="1">
                  <c:v>465.66890000000001</c:v>
                </c:pt>
              </c:numCache>
            </c:numRef>
          </c:xVal>
          <c:yVal>
            <c:numRef>
              <c:f>Sheet1!$B$2:$B$3</c:f>
              <c:numCache>
                <c:formatCode>General</c:formatCode>
                <c:ptCount val="2"/>
                <c:pt idx="0">
                  <c:v>0.99099999999999999</c:v>
                </c:pt>
                <c:pt idx="1">
                  <c:v>1.016</c:v>
                </c:pt>
              </c:numCache>
            </c:numRef>
          </c:yVal>
          <c:bubbleSize>
            <c:numRef>
              <c:f>Sheet1!$C$2:$C$3</c:f>
              <c:numCache>
                <c:formatCode>General</c:formatCode>
                <c:ptCount val="2"/>
                <c:pt idx="0">
                  <c:v>1204704</c:v>
                </c:pt>
                <c:pt idx="1">
                  <c:v>682205</c:v>
                </c:pt>
              </c:numCache>
            </c:numRef>
          </c:bubbleSize>
          <c:bubble3D val="0"/>
          <c:extLst>
            <c:ext xmlns:c15="http://schemas.microsoft.com/office/drawing/2012/chart" uri="{02D57815-91ED-43cb-92C2-25804820EDAC}">
              <c15:datalabelsRange>
                <c15:f>Sheet1!$E$2:$E$10</c15:f>
                <c15:dlblRangeCache>
                  <c:ptCount val="9"/>
                  <c:pt idx="0">
                    <c:v>Beiersdorf</c:v>
                  </c:pt>
                  <c:pt idx="1">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59"/>
          <c:min val="2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84F45D02-DEDA-4EAF-B345-86C1BD06B3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F57CD803-5A83-49BB-A057-B5734CAB5C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0D3AF7D2-D29D-4D2C-BEE4-7AAB902DCC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20D7E0F6-E3EA-4AA6-A42F-81688A0563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3A45C2FE-1468-4C55-A4AE-F7D4C92D65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8FB1CFB6-11F9-432B-9728-75978F5D90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24260EDB-19D5-4DF9-9F3F-C38C438C66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D2AFA840-A712-402D-841E-1E1B4474C0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5.20339999999999</c:v>
                </c:pt>
                <c:pt idx="1">
                  <c:v>208.14179999999999</c:v>
                </c:pt>
                <c:pt idx="2">
                  <c:v>189.946</c:v>
                </c:pt>
                <c:pt idx="3">
                  <c:v>242.57839999999999</c:v>
                </c:pt>
                <c:pt idx="4">
                  <c:v>623.33420000000001</c:v>
                </c:pt>
                <c:pt idx="5">
                  <c:v>207.99539999999999</c:v>
                </c:pt>
                <c:pt idx="6">
                  <c:v>744.73800000000006</c:v>
                </c:pt>
                <c:pt idx="7">
                  <c:v>675.7758</c:v>
                </c:pt>
              </c:numCache>
            </c:numRef>
          </c:xVal>
          <c:yVal>
            <c:numRef>
              <c:f>Sheet1!$B$2:$B$9</c:f>
              <c:numCache>
                <c:formatCode>General</c:formatCode>
                <c:ptCount val="8"/>
                <c:pt idx="0">
                  <c:v>0.90600000000000003</c:v>
                </c:pt>
                <c:pt idx="1">
                  <c:v>0.80900000000000005</c:v>
                </c:pt>
                <c:pt idx="2">
                  <c:v>0.83299999999999996</c:v>
                </c:pt>
                <c:pt idx="3">
                  <c:v>3.9609999999999999</c:v>
                </c:pt>
                <c:pt idx="4">
                  <c:v>4.7930000000000001</c:v>
                </c:pt>
                <c:pt idx="5">
                  <c:v>2.5579999999999998</c:v>
                </c:pt>
                <c:pt idx="6">
                  <c:v>4.5679999999999996</c:v>
                </c:pt>
                <c:pt idx="7">
                  <c:v>2.54</c:v>
                </c:pt>
              </c:numCache>
            </c:numRef>
          </c:yVal>
          <c:bubbleSize>
            <c:numRef>
              <c:f>Sheet1!$C$2:$C$9</c:f>
              <c:numCache>
                <c:formatCode>General</c:formatCode>
                <c:ptCount val="8"/>
                <c:pt idx="0">
                  <c:v>318387310</c:v>
                </c:pt>
                <c:pt idx="1">
                  <c:v>245934124</c:v>
                </c:pt>
                <c:pt idx="2">
                  <c:v>103324944</c:v>
                </c:pt>
                <c:pt idx="3">
                  <c:v>26871382</c:v>
                </c:pt>
                <c:pt idx="4">
                  <c:v>18994862</c:v>
                </c:pt>
                <c:pt idx="5">
                  <c:v>13146973</c:v>
                </c:pt>
                <c:pt idx="6">
                  <c:v>11537481</c:v>
                </c:pt>
                <c:pt idx="7">
                  <c:v>10352210</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Loreal Paris</c:v>
                  </c:pt>
                  <c:pt idx="4">
                    <c:v>Isdin</c:v>
                  </c:pt>
                  <c:pt idx="5">
                    <c:v>Beauty Care</c:v>
                  </c:pt>
                  <c:pt idx="6">
                    <c:v>La Roche-Posay</c:v>
                  </c:pt>
                  <c:pt idx="7">
                    <c:v>Eucerin</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4"/>
          <c:min val="15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6D7FF96-6CCE-438F-93D3-CEB9DD5C93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31CB428-0DA5-4D0E-92A1-E998059854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D971327-82B6-4A8E-84B4-27A7CAA866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0CCB79E-7AFF-4CD2-9220-84C4FE4CF8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2425CD2-D2F6-43DA-B527-EA550095EF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D488893-93D9-4722-B7BB-D4FF1EACF3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1DAF980-0F26-4737-9007-70CBC2AD56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5FE9943-B554-4FB4-BD9A-C2EBDB451F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91.3236</c:v>
                </c:pt>
                <c:pt idx="1">
                  <c:v>141.8509</c:v>
                </c:pt>
              </c:numCache>
            </c:numRef>
          </c:xVal>
          <c:yVal>
            <c:numRef>
              <c:f>Sheet1!$B$2:$B$3</c:f>
              <c:numCache>
                <c:formatCode>General</c:formatCode>
                <c:ptCount val="2"/>
                <c:pt idx="0">
                  <c:v>1.028</c:v>
                </c:pt>
                <c:pt idx="1">
                  <c:v>0.88100000000000001</c:v>
                </c:pt>
              </c:numCache>
            </c:numRef>
          </c:yVal>
          <c:bubbleSize>
            <c:numRef>
              <c:f>Sheet1!$C$2:$C$3</c:f>
              <c:numCache>
                <c:formatCode>General</c:formatCode>
                <c:ptCount val="2"/>
                <c:pt idx="0">
                  <c:v>4382840</c:v>
                </c:pt>
                <c:pt idx="1">
                  <c:v>953380</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0"/>
          <c:min val="11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996FA7-4F00-4391-9DD6-67C6C38B31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6D943B3-55B8-44D6-84D4-068F095EC2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98B3174-BAE9-4093-B8EC-E4C5908EB5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99FCE20-ECC0-48EC-B169-CFA9441E92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9E2EC83-8AE6-49C5-A59E-DB378D64B9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8659E4D-A9AA-4996-A424-7056DCE305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E3711C9-9310-48E6-B5C4-89E31A1704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87ED563-1E6B-4E33-8937-15B0036B66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43.9477</c:v>
                </c:pt>
                <c:pt idx="1">
                  <c:v>219.7927</c:v>
                </c:pt>
              </c:numCache>
            </c:numRef>
          </c:xVal>
          <c:yVal>
            <c:numRef>
              <c:f>Sheet1!$B$2:$B$3</c:f>
              <c:numCache>
                <c:formatCode>General</c:formatCode>
                <c:ptCount val="2"/>
                <c:pt idx="0">
                  <c:v>1.0840000000000001</c:v>
                </c:pt>
                <c:pt idx="1">
                  <c:v>0.82499999999999996</c:v>
                </c:pt>
              </c:numCache>
            </c:numRef>
          </c:yVal>
          <c:bubbleSize>
            <c:numRef>
              <c:f>Sheet1!$C$2:$C$3</c:f>
              <c:numCache>
                <c:formatCode>General</c:formatCode>
                <c:ptCount val="2"/>
                <c:pt idx="0">
                  <c:v>517657</c:v>
                </c:pt>
                <c:pt idx="1">
                  <c:v>36046</c:v>
                </c:pt>
              </c:numCache>
            </c:numRef>
          </c:bubbleSize>
          <c:bubble3D val="0"/>
          <c:extLst>
            <c:ext xmlns:c15="http://schemas.microsoft.com/office/drawing/2012/chart" uri="{02D57815-91ED-43cb-92C2-25804820EDAC}">
              <c15:datalabelsRange>
                <c15:f>Sheet1!$E$2:$E$10</c15:f>
                <c15:dlblRangeCache>
                  <c:ptCount val="9"/>
                  <c:pt idx="0">
                    <c:v>Edgewell</c:v>
                  </c:pt>
                  <c:pt idx="1">
                    <c:v>J&amp;J</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3"/>
          <c:min val="17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AE20627-D961-4798-9B27-508CD78C5D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76F07AC6-C6C3-400F-A431-9E12A9013F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914B77B-5276-4B09-8A2C-E5D5FCC696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6FA7C44-BBD8-496A-BAD1-EB3F887E42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790BC9A-D7B6-4C8A-9424-E1DEBE1FEA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1A46D49-1441-4186-B365-70B2DCFEA5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B00C853-ADE8-45BB-AE5E-4C6565BE77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2852ADC-8620-4601-91AD-1904BE0D37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45.64230000000001</c:v>
                </c:pt>
              </c:numCache>
            </c:numRef>
          </c:xVal>
          <c:yVal>
            <c:numRef>
              <c:f>Sheet1!$B$2:$B$2</c:f>
              <c:numCache>
                <c:formatCode>General</c:formatCode>
                <c:ptCount val="1"/>
                <c:pt idx="0">
                  <c:v>1</c:v>
                </c:pt>
              </c:numCache>
            </c:numRef>
          </c:yVal>
          <c:bubbleSize>
            <c:numRef>
              <c:f>Sheet1!$C$2:$C$2</c:f>
              <c:numCache>
                <c:formatCode>General</c:formatCode>
                <c:ptCount val="1"/>
                <c:pt idx="0">
                  <c:v>90642</c:v>
                </c:pt>
              </c:numCache>
            </c:numRef>
          </c:bubbleSize>
          <c:bubble3D val="0"/>
          <c:extLst>
            <c:ext xmlns:c15="http://schemas.microsoft.com/office/drawing/2012/chart" uri="{02D57815-91ED-43cb-92C2-25804820EDAC}">
              <c15:datalabelsRange>
                <c15:f>Sheet1!$E$2:$E$10</c15:f>
                <c15:dlblRangeCache>
                  <c:ptCount val="9"/>
                  <c:pt idx="0">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5"/>
          <c:min val="19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68BDB53-E914-4385-974B-16BE2E4995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66DC6CA-2F3E-401B-BC38-57AD15E8FF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27A4E62-CC63-403D-83E4-8046895E74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5C31E42-1C5D-4C5A-B52D-E12A871D6B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708BF50-DB06-45DA-8808-6D5D243296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A215AF7-A241-4A5A-BA80-3BDE0EEC16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8D2B424-971F-4487-A32F-3F254A89EF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B0F820E-9176-41ED-8C00-2588959DE2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597.39189999999996</c:v>
                </c:pt>
                <c:pt idx="1">
                  <c:v>517.70339999999999</c:v>
                </c:pt>
              </c:numCache>
            </c:numRef>
          </c:xVal>
          <c:yVal>
            <c:numRef>
              <c:f>Sheet1!$B$2:$B$3</c:f>
              <c:numCache>
                <c:formatCode>General</c:formatCode>
                <c:ptCount val="2"/>
                <c:pt idx="0">
                  <c:v>1.1519999999999999</c:v>
                </c:pt>
                <c:pt idx="1">
                  <c:v>2.2719999999999998</c:v>
                </c:pt>
              </c:numCache>
            </c:numRef>
          </c:yVal>
          <c:bubbleSize>
            <c:numRef>
              <c:f>Sheet1!$C$2:$C$3</c:f>
              <c:numCache>
                <c:formatCode>General</c:formatCode>
                <c:ptCount val="2"/>
                <c:pt idx="0">
                  <c:v>7450074</c:v>
                </c:pt>
                <c:pt idx="1">
                  <c:v>6483718</c:v>
                </c:pt>
              </c:numCache>
            </c:numRef>
          </c:bubbleSize>
          <c:bubble3D val="0"/>
          <c:extLst>
            <c:ext xmlns:c15="http://schemas.microsoft.com/office/drawing/2012/chart" uri="{02D57815-91ED-43cb-92C2-25804820EDAC}">
              <c15:datalabelsRange>
                <c15:f>Sheet1!$E$2:$E$10</c15:f>
                <c15:dlblRangeCache>
                  <c:ptCount val="9"/>
                  <c:pt idx="0">
                    <c:v>Isdin</c:v>
                  </c:pt>
                  <c:pt idx="1">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7"/>
          <c:min val="4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ABA9FE9-56B4-4997-8B47-006050FB0F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5BD79DF-488B-495E-99A1-EB374A40A2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9007F35-D9F2-4360-967C-A474C8E7E5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3DA8DE6-E186-4807-8179-D2D4595250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E5BEC02-74C3-4462-946D-2F86B33ABA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85B2987-650B-4AF5-8DA5-D1ECD2830C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D100FBD-59C7-4C26-B15E-6B8D1E7820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23AED2C-181D-4D60-BF76-A5876287DE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4.57570000000001</c:v>
                </c:pt>
                <c:pt idx="1">
                  <c:v>238.68190000000001</c:v>
                </c:pt>
                <c:pt idx="2">
                  <c:v>290.39980000000003</c:v>
                </c:pt>
                <c:pt idx="3">
                  <c:v>84.775899999999993</c:v>
                </c:pt>
                <c:pt idx="4">
                  <c:v>583.70219999999995</c:v>
                </c:pt>
                <c:pt idx="5">
                  <c:v>291.1712</c:v>
                </c:pt>
                <c:pt idx="6">
                  <c:v>76.948599999999999</c:v>
                </c:pt>
                <c:pt idx="7">
                  <c:v>543.4923</c:v>
                </c:pt>
              </c:numCache>
            </c:numRef>
          </c:xVal>
          <c:yVal>
            <c:numRef>
              <c:f>Sheet1!$B$2:$B$9</c:f>
              <c:numCache>
                <c:formatCode>General</c:formatCode>
                <c:ptCount val="8"/>
                <c:pt idx="0">
                  <c:v>1.484</c:v>
                </c:pt>
                <c:pt idx="1">
                  <c:v>0.67800000000000005</c:v>
                </c:pt>
                <c:pt idx="2">
                  <c:v>1.9490000000000001</c:v>
                </c:pt>
                <c:pt idx="3">
                  <c:v>0.40500000000000003</c:v>
                </c:pt>
                <c:pt idx="4">
                  <c:v>7.6680000000000001</c:v>
                </c:pt>
                <c:pt idx="5">
                  <c:v>3.661</c:v>
                </c:pt>
                <c:pt idx="6">
                  <c:v>0.379</c:v>
                </c:pt>
                <c:pt idx="7">
                  <c:v>3.6629999999999998</c:v>
                </c:pt>
              </c:numCache>
            </c:numRef>
          </c:yVal>
          <c:bubbleSize>
            <c:numRef>
              <c:f>Sheet1!$C$2:$C$9</c:f>
              <c:numCache>
                <c:formatCode>General</c:formatCode>
                <c:ptCount val="8"/>
                <c:pt idx="0">
                  <c:v>233038069</c:v>
                </c:pt>
                <c:pt idx="1">
                  <c:v>138935310</c:v>
                </c:pt>
                <c:pt idx="2">
                  <c:v>99185766</c:v>
                </c:pt>
                <c:pt idx="3">
                  <c:v>61990404</c:v>
                </c:pt>
                <c:pt idx="4">
                  <c:v>57072654</c:v>
                </c:pt>
                <c:pt idx="5">
                  <c:v>42322603</c:v>
                </c:pt>
                <c:pt idx="6">
                  <c:v>32892975</c:v>
                </c:pt>
                <c:pt idx="7">
                  <c:v>18539609</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J&amp;J</c:v>
                  </c:pt>
                  <c:pt idx="3">
                    <c:v>Total Care De Mexico</c:v>
                  </c:pt>
                  <c:pt idx="4">
                    <c:v>Isdin</c:v>
                  </c:pt>
                  <c:pt idx="5">
                    <c:v>L'Oreal</c:v>
                  </c:pt>
                  <c:pt idx="6">
                    <c:v>Inds.Lavin De Mexico</c:v>
                  </c:pt>
                  <c:pt idx="7">
                    <c:v>Pierre Fab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0"/>
          <c:min val="6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B996BB2-49C9-4C8B-8329-0A743ADE1D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54CE40D-2A93-4633-BE64-9AE3BD270A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6718C0B-BBE0-49F2-A62B-C3ABFEED0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5E8F8A-6597-4E1E-9104-405E8E1FA2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7D70E69-29EB-434D-90CC-D94CE0216C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393A067-4BB2-4454-A513-59F9923770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BF8A261-C54B-46E6-9AA6-D0094E3F3D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2C765C4-27D7-48BB-A392-911E3DC9A6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551.95619999999997</c:v>
                </c:pt>
                <c:pt idx="1">
                  <c:v>288.90890000000002</c:v>
                </c:pt>
                <c:pt idx="2">
                  <c:v>580.10599999999999</c:v>
                </c:pt>
                <c:pt idx="3">
                  <c:v>533.79150000000004</c:v>
                </c:pt>
                <c:pt idx="4">
                  <c:v>369.12920000000003</c:v>
                </c:pt>
                <c:pt idx="5">
                  <c:v>269.45240000000001</c:v>
                </c:pt>
              </c:numCache>
            </c:numRef>
          </c:xVal>
          <c:yVal>
            <c:numRef>
              <c:f>Sheet1!$B$2:$B$7</c:f>
              <c:numCache>
                <c:formatCode>General</c:formatCode>
                <c:ptCount val="6"/>
                <c:pt idx="0">
                  <c:v>1.123</c:v>
                </c:pt>
                <c:pt idx="1">
                  <c:v>0.65500000000000003</c:v>
                </c:pt>
                <c:pt idx="2">
                  <c:v>1.3009999999999999</c:v>
                </c:pt>
                <c:pt idx="3">
                  <c:v>1.8520000000000001</c:v>
                </c:pt>
                <c:pt idx="4">
                  <c:v>1.389</c:v>
                </c:pt>
                <c:pt idx="5">
                  <c:v>0.51600000000000001</c:v>
                </c:pt>
              </c:numCache>
            </c:numRef>
          </c:yVal>
          <c:bubbleSize>
            <c:numRef>
              <c:f>Sheet1!$C$2:$C$7</c:f>
              <c:numCache>
                <c:formatCode>General</c:formatCode>
                <c:ptCount val="6"/>
                <c:pt idx="0">
                  <c:v>17135479</c:v>
                </c:pt>
                <c:pt idx="1">
                  <c:v>15762002</c:v>
                </c:pt>
                <c:pt idx="2">
                  <c:v>14920906</c:v>
                </c:pt>
                <c:pt idx="3">
                  <c:v>4767826</c:v>
                </c:pt>
                <c:pt idx="4">
                  <c:v>2334373</c:v>
                </c:pt>
                <c:pt idx="5">
                  <c:v>676056</c:v>
                </c:pt>
              </c:numCache>
            </c:numRef>
          </c:bubbleSize>
          <c:bubble3D val="0"/>
          <c:extLst>
            <c:ext xmlns:c15="http://schemas.microsoft.com/office/drawing/2012/chart" uri="{02D57815-91ED-43cb-92C2-25804820EDAC}">
              <c15:datalabelsRange>
                <c15:f>Sheet1!$E$2:$E$10</c15:f>
                <c15:dlblRangeCache>
                  <c:ptCount val="9"/>
                  <c:pt idx="0">
                    <c:v>L'Oreal</c:v>
                  </c:pt>
                  <c:pt idx="1">
                    <c:v>Beiersdorf</c:v>
                  </c:pt>
                  <c:pt idx="2">
                    <c:v>Isdin</c:v>
                  </c:pt>
                  <c:pt idx="3">
                    <c:v>Pierre Fabre</c:v>
                  </c:pt>
                  <c:pt idx="4">
                    <c:v>Bioderma</c:v>
                  </c:pt>
                  <c:pt idx="5">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6"/>
          <c:min val="21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B5600C0-4946-4065-AF69-747F987DAC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C51B01-2A58-4E1E-8255-0FF6771562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FA316E4-1AE0-4D49-94C3-E3FC37F30C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676C47D-B063-45F2-8FBC-F2AAD4BEC2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3C02577-4F9D-43EC-B635-4D5D75362E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68B79B6-7B34-4D3D-83B0-0F8E5B9B31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205E88C-D630-4BE4-A72D-75862E1890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D1FA945-2C89-4F36-8DB3-D1B09926A9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74.94869999999997</c:v>
                </c:pt>
                <c:pt idx="1">
                  <c:v>591.13890000000004</c:v>
                </c:pt>
                <c:pt idx="2">
                  <c:v>539.37109999999996</c:v>
                </c:pt>
                <c:pt idx="3">
                  <c:v>567.20190000000002</c:v>
                </c:pt>
                <c:pt idx="4">
                  <c:v>467.96749999999997</c:v>
                </c:pt>
              </c:numCache>
            </c:numRef>
          </c:xVal>
          <c:yVal>
            <c:numRef>
              <c:f>Sheet1!$B$2:$B$6</c:f>
              <c:numCache>
                <c:formatCode>General</c:formatCode>
                <c:ptCount val="5"/>
                <c:pt idx="0">
                  <c:v>0.88900000000000001</c:v>
                </c:pt>
                <c:pt idx="1">
                  <c:v>1.417</c:v>
                </c:pt>
                <c:pt idx="2">
                  <c:v>6.694</c:v>
                </c:pt>
                <c:pt idx="3">
                  <c:v>41.033000000000001</c:v>
                </c:pt>
                <c:pt idx="4">
                  <c:v>3.1779999999999999</c:v>
                </c:pt>
              </c:numCache>
            </c:numRef>
          </c:yVal>
          <c:bubbleSize>
            <c:numRef>
              <c:f>Sheet1!$C$2:$C$6</c:f>
              <c:numCache>
                <c:formatCode>General</c:formatCode>
                <c:ptCount val="5"/>
                <c:pt idx="0">
                  <c:v>103041984</c:v>
                </c:pt>
                <c:pt idx="1">
                  <c:v>17641359</c:v>
                </c:pt>
                <c:pt idx="2">
                  <c:v>5506979</c:v>
                </c:pt>
                <c:pt idx="3">
                  <c:v>1573418</c:v>
                </c:pt>
                <c:pt idx="4">
                  <c:v>1323880</c:v>
                </c:pt>
              </c:numCache>
            </c:numRef>
          </c:bubbleSize>
          <c:bubble3D val="0"/>
          <c:extLst>
            <c:ext xmlns:c15="http://schemas.microsoft.com/office/drawing/2012/chart" uri="{02D57815-91ED-43cb-92C2-25804820EDAC}">
              <c15:datalabelsRange>
                <c15:f>Sheet1!$E$2:$E$10</c15:f>
                <c15:dlblRangeCache>
                  <c:ptCount val="9"/>
                  <c:pt idx="0">
                    <c:v>Beiersdorf</c:v>
                  </c:pt>
                  <c:pt idx="1">
                    <c:v>Isdin</c:v>
                  </c:pt>
                  <c:pt idx="2">
                    <c:v>L'Oreal</c:v>
                  </c:pt>
                  <c:pt idx="3">
                    <c:v>Bioderma</c:v>
                  </c:pt>
                  <c:pt idx="4">
                    <c:v>Gal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
          <c:min val="2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3AF5591-D977-4C0C-A028-F7685FAD53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171A4B7-CCCF-47BE-8244-5A11ABC81F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8F79A5C-5A56-4935-8316-A18919517A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6AC5BC2-B57D-4FF2-B8CF-A6F164FFFC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68B51F8-FD51-4989-A452-A216FEBB87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D528FCE-F7FA-4D0D-92DD-EFDE79B828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1585463-68AD-4183-BD47-B146889054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9174CA6-EEE0-4ACB-8F76-F14765860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602.04489999999998</c:v>
                </c:pt>
                <c:pt idx="1">
                  <c:v>627.20219999999995</c:v>
                </c:pt>
              </c:numCache>
            </c:numRef>
          </c:xVal>
          <c:yVal>
            <c:numRef>
              <c:f>Sheet1!$B$2:$B$3</c:f>
              <c:numCache>
                <c:formatCode>General</c:formatCode>
                <c:ptCount val="2"/>
                <c:pt idx="0">
                  <c:v>0.90200000000000002</c:v>
                </c:pt>
                <c:pt idx="1">
                  <c:v>0</c:v>
                </c:pt>
              </c:numCache>
            </c:numRef>
          </c:yVal>
          <c:bubbleSize>
            <c:numRef>
              <c:f>Sheet1!$C$2:$C$3</c:f>
              <c:numCache>
                <c:formatCode>General</c:formatCode>
                <c:ptCount val="2"/>
                <c:pt idx="0">
                  <c:v>2562303</c:v>
                </c:pt>
                <c:pt idx="1">
                  <c:v>279105</c:v>
                </c:pt>
              </c:numCache>
            </c:numRef>
          </c:bubbleSize>
          <c:bubble3D val="0"/>
          <c:extLst>
            <c:ext xmlns:c15="http://schemas.microsoft.com/office/drawing/2012/chart" uri="{02D57815-91ED-43cb-92C2-25804820EDAC}">
              <c15:datalabelsRange>
                <c15:f>Sheet1!$E$2:$E$10</c15:f>
                <c15:dlblRangeCache>
                  <c:ptCount val="9"/>
                  <c:pt idx="0">
                    <c:v>Beiersdorf</c:v>
                  </c:pt>
                  <c:pt idx="1">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53"/>
          <c:min val="48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DBA3635-6BD0-4A37-BC6E-29AD297B8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E7EA127-0BB7-4447-BA9C-E4D684FA08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9853F6F-B27C-441F-B39F-B9206DF412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B4DE0A6-19B5-407E-87B9-EC23EDA787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22795EF-8F3E-47F6-A65E-D07C52FA6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56FDD6E-BC59-49E5-AAD8-397DB28247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BAA0932-6C2F-4F13-9308-8B211FBF34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A9BFB75-E14E-4FCB-9A7B-ABF3887AEE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99.6926</c:v>
                </c:pt>
                <c:pt idx="1">
                  <c:v>239.2679</c:v>
                </c:pt>
                <c:pt idx="2">
                  <c:v>266.00380000000001</c:v>
                </c:pt>
              </c:numCache>
            </c:numRef>
          </c:xVal>
          <c:yVal>
            <c:numRef>
              <c:f>Sheet1!$B$2:$B$4</c:f>
              <c:numCache>
                <c:formatCode>General</c:formatCode>
                <c:ptCount val="3"/>
                <c:pt idx="0">
                  <c:v>0.92500000000000004</c:v>
                </c:pt>
                <c:pt idx="1">
                  <c:v>0.97799999999999998</c:v>
                </c:pt>
                <c:pt idx="2">
                  <c:v>4.5540000000000003</c:v>
                </c:pt>
              </c:numCache>
            </c:numRef>
          </c:yVal>
          <c:bubbleSize>
            <c:numRef>
              <c:f>Sheet1!$C$2:$C$4</c:f>
              <c:numCache>
                <c:formatCode>General</c:formatCode>
                <c:ptCount val="3"/>
                <c:pt idx="0">
                  <c:v>250309879</c:v>
                </c:pt>
                <c:pt idx="1">
                  <c:v>208255667</c:v>
                </c:pt>
                <c:pt idx="2">
                  <c:v>22396719</c:v>
                </c:pt>
              </c:numCache>
            </c:numRef>
          </c:bubbleSize>
          <c:bubble3D val="0"/>
          <c:extLst>
            <c:ext xmlns:c15="http://schemas.microsoft.com/office/drawing/2012/chart" uri="{02D57815-91ED-43cb-92C2-25804820EDAC}">
              <c15:datalabelsRange>
                <c15:f>Sheet1!$E$2:$E$10</c15:f>
                <c15:dlblRangeCache>
                  <c:ptCount val="9"/>
                  <c:pt idx="0">
                    <c:v>Edgewell</c:v>
                  </c:pt>
                  <c:pt idx="1">
                    <c:v>Beiersdorf</c:v>
                  </c:pt>
                  <c:pt idx="2">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9"/>
          <c:min val="1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95903C6-A734-40A6-AE40-ED17B56B92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B28EAB8-E719-4555-B540-C1957BEE4E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9B05BAF-9FD7-4916-8EF1-89BA8F129F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DD9DD87-741C-43BC-8217-FF1BC7C51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336B990-9A8A-48B0-BAB1-C09DE0DA10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D09E15C-8F05-42FC-9889-C32D89E84B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1FB8406-ACB5-4A7A-A1D0-2F25BD237D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ADFF384-6B52-4654-9648-B0335BA7AB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9.33860000000001</c:v>
                </c:pt>
                <c:pt idx="1">
                  <c:v>213.762</c:v>
                </c:pt>
                <c:pt idx="2">
                  <c:v>597.97450000000003</c:v>
                </c:pt>
                <c:pt idx="3">
                  <c:v>566.36</c:v>
                </c:pt>
                <c:pt idx="4">
                  <c:v>246.7004</c:v>
                </c:pt>
                <c:pt idx="5">
                  <c:v>424.61759999999998</c:v>
                </c:pt>
              </c:numCache>
            </c:numRef>
          </c:xVal>
          <c:yVal>
            <c:numRef>
              <c:f>Sheet1!$B$2:$B$7</c:f>
              <c:numCache>
                <c:formatCode>General</c:formatCode>
                <c:ptCount val="6"/>
                <c:pt idx="0">
                  <c:v>0.94799999999999995</c:v>
                </c:pt>
                <c:pt idx="1">
                  <c:v>1.0349999999999999</c:v>
                </c:pt>
                <c:pt idx="2">
                  <c:v>2.04</c:v>
                </c:pt>
                <c:pt idx="3">
                  <c:v>3.4569999999999999</c:v>
                </c:pt>
                <c:pt idx="4">
                  <c:v>3.952</c:v>
                </c:pt>
                <c:pt idx="5">
                  <c:v>5.5679999999999996</c:v>
                </c:pt>
              </c:numCache>
            </c:numRef>
          </c:yVal>
          <c:bubbleSize>
            <c:numRef>
              <c:f>Sheet1!$C$2:$C$7</c:f>
              <c:numCache>
                <c:formatCode>General</c:formatCode>
                <c:ptCount val="6"/>
                <c:pt idx="0">
                  <c:v>68297582</c:v>
                </c:pt>
                <c:pt idx="1">
                  <c:v>2052543</c:v>
                </c:pt>
                <c:pt idx="2">
                  <c:v>1685690</c:v>
                </c:pt>
                <c:pt idx="3">
                  <c:v>1592038</c:v>
                </c:pt>
                <c:pt idx="4">
                  <c:v>1269767</c:v>
                </c:pt>
                <c:pt idx="5">
                  <c:v>989359</c:v>
                </c:pt>
              </c:numCache>
            </c:numRef>
          </c:bubbleSize>
          <c:bubble3D val="0"/>
          <c:extLst>
            <c:ext xmlns:c15="http://schemas.microsoft.com/office/drawing/2012/chart" uri="{02D57815-91ED-43cb-92C2-25804820EDAC}">
              <c15:datalabelsRange>
                <c15:f>Sheet1!$E$2:$E$10</c15:f>
                <c15:dlblRangeCache>
                  <c:ptCount val="9"/>
                  <c:pt idx="0">
                    <c:v>Edgewell</c:v>
                  </c:pt>
                  <c:pt idx="1">
                    <c:v>Sun &amp; Skin Care Research</c:v>
                  </c:pt>
                  <c:pt idx="2">
                    <c:v>Isdin</c:v>
                  </c:pt>
                  <c:pt idx="3">
                    <c:v>L'Oreal</c:v>
                  </c:pt>
                  <c:pt idx="4">
                    <c:v>Glaxosmithkline</c:v>
                  </c:pt>
                  <c:pt idx="5">
                    <c:v>Labs. Expanscie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8"/>
          <c:min val="17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6D2FDAD6-4A8A-4F04-94AC-18B518E912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AA28ADAC-83CF-44BD-A40D-22CD281A61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3F7704B9-4376-4BAF-BB2B-CE8D35976B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A2CEA054-E268-4F9D-88AF-7634C47FE2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E198418B-F85F-4632-B628-3BEE33F6C3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6690E2A9-3B3E-4851-8C90-6E1F101671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C1B36513-083B-4FD0-9420-F7AB3B6C9A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6119BBF2-8FE8-4EA8-ABCF-86AB696A8B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33.06200000000001</c:v>
                </c:pt>
                <c:pt idx="1">
                  <c:v>614.44690000000003</c:v>
                </c:pt>
                <c:pt idx="2">
                  <c:v>287.61689999999999</c:v>
                </c:pt>
                <c:pt idx="3">
                  <c:v>624.47</c:v>
                </c:pt>
                <c:pt idx="4">
                  <c:v>404.45150000000001</c:v>
                </c:pt>
              </c:numCache>
            </c:numRef>
          </c:xVal>
          <c:yVal>
            <c:numRef>
              <c:f>Sheet1!$B$2:$B$6</c:f>
              <c:numCache>
                <c:formatCode>General</c:formatCode>
                <c:ptCount val="5"/>
                <c:pt idx="0">
                  <c:v>0.90800000000000003</c:v>
                </c:pt>
                <c:pt idx="1">
                  <c:v>1.6819999999999999</c:v>
                </c:pt>
                <c:pt idx="2">
                  <c:v>2.903</c:v>
                </c:pt>
                <c:pt idx="3">
                  <c:v>2.6840000000000002</c:v>
                </c:pt>
                <c:pt idx="4">
                  <c:v>4.085</c:v>
                </c:pt>
              </c:numCache>
            </c:numRef>
          </c:yVal>
          <c:bubbleSize>
            <c:numRef>
              <c:f>Sheet1!$C$2:$C$6</c:f>
              <c:numCache>
                <c:formatCode>General</c:formatCode>
                <c:ptCount val="5"/>
                <c:pt idx="0">
                  <c:v>96910458</c:v>
                </c:pt>
                <c:pt idx="1">
                  <c:v>6626810</c:v>
                </c:pt>
                <c:pt idx="2">
                  <c:v>4484235</c:v>
                </c:pt>
                <c:pt idx="3">
                  <c:v>4388775</c:v>
                </c:pt>
                <c:pt idx="4">
                  <c:v>2967056</c:v>
                </c:pt>
              </c:numCache>
            </c:numRef>
          </c:bubbleSize>
          <c:bubble3D val="0"/>
          <c:extLst>
            <c:ext xmlns:c15="http://schemas.microsoft.com/office/drawing/2012/chart" uri="{02D57815-91ED-43cb-92C2-25804820EDAC}">
              <c15:datalabelsRange>
                <c15:f>Sheet1!$E$2:$E$10</c15:f>
                <c15:dlblRangeCache>
                  <c:ptCount val="9"/>
                  <c:pt idx="0">
                    <c:v>Banana Boat</c:v>
                  </c:pt>
                  <c:pt idx="1">
                    <c:v>Isdin</c:v>
                  </c:pt>
                  <c:pt idx="2">
                    <c:v>Eclipsol</c:v>
                  </c:pt>
                  <c:pt idx="3">
                    <c:v>La Roche-Posay</c:v>
                  </c:pt>
                  <c:pt idx="4">
                    <c:v>Mustela</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49"/>
          <c:min val="18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F16395B-68CD-4164-AFE2-F25A1FFAF1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9C089AFF-98DD-403A-855B-8B4C0ED706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8684073-4891-4089-9AC3-8CB02D6A37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1BF5AD8-4EC2-49FE-8994-22CDC3A5BB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B9A1779-4690-4469-B912-9DC5C3C4F2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5B60C7F-1390-41B6-B89E-E4904CF2EE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C5BDD8B-F8BC-4246-AD21-372E9D78E5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6B65E95-1D11-4FD1-AF31-05D162AED4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4.0581</c:v>
                </c:pt>
              </c:numCache>
            </c:numRef>
          </c:xVal>
          <c:yVal>
            <c:numRef>
              <c:f>Sheet1!$B$2:$B$2</c:f>
              <c:numCache>
                <c:formatCode>General</c:formatCode>
                <c:ptCount val="1"/>
                <c:pt idx="0">
                  <c:v>1</c:v>
                </c:pt>
              </c:numCache>
            </c:numRef>
          </c:yVal>
          <c:bubbleSize>
            <c:numRef>
              <c:f>Sheet1!$C$2:$C$2</c:f>
              <c:numCache>
                <c:formatCode>General</c:formatCode>
                <c:ptCount val="1"/>
                <c:pt idx="0">
                  <c:v>2997001</c:v>
                </c:pt>
              </c:numCache>
            </c:numRef>
          </c:bubbleSize>
          <c:bubble3D val="0"/>
          <c:extLst>
            <c:ext xmlns:c15="http://schemas.microsoft.com/office/drawing/2012/chart" uri="{02D57815-91ED-43cb-92C2-25804820EDAC}">
              <c15:datalabelsRange>
                <c15:f>Sheet1!$E$2:$E$10</c15:f>
                <c15:dlblRangeCache>
                  <c:ptCount val="9"/>
                  <c:pt idx="0">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5"/>
          <c:min val="16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382FB9A-4024-4957-8595-43FC6E2254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D5A1AB67-6FD6-45A9-B87E-5C19AA93D2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0FCC23A-130A-4243-AA13-7C9FBAE846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4C48281-6563-48F7-A4D0-54B72E308F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89F3F5D-1F5B-4AEB-9601-0B46A09A30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2D197A7-B7A5-4940-A4D6-127D18EA76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F0C067C-DE18-4F7F-BE18-D99A3A6AF9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30AF762-C8B0-4E91-95FB-B4E1C94EA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8.50640000000001</c:v>
                </c:pt>
              </c:numCache>
            </c:numRef>
          </c:xVal>
          <c:yVal>
            <c:numRef>
              <c:f>Sheet1!$B$2:$B$2</c:f>
              <c:numCache>
                <c:formatCode>General</c:formatCode>
                <c:ptCount val="1"/>
                <c:pt idx="0">
                  <c:v>1</c:v>
                </c:pt>
              </c:numCache>
            </c:numRef>
          </c:yVal>
          <c:bubbleSize>
            <c:numRef>
              <c:f>Sheet1!$C$2:$C$2</c:f>
              <c:numCache>
                <c:formatCode>General</c:formatCode>
                <c:ptCount val="1"/>
                <c:pt idx="0">
                  <c:v>9805641</c:v>
                </c:pt>
              </c:numCache>
            </c:numRef>
          </c:bubbleSize>
          <c:bubble3D val="0"/>
          <c:extLst>
            <c:ext xmlns:c15="http://schemas.microsoft.com/office/drawing/2012/chart" uri="{02D57815-91ED-43cb-92C2-25804820EDAC}">
              <c15:datalabelsRange>
                <c15:f>Sheet1!$E$2:$E$10</c15:f>
                <c15:dlblRangeCache>
                  <c:ptCount val="9"/>
                  <c:pt idx="0">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0"/>
          <c:min val="16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C8248FA-E5AD-4EE8-B197-2C64B5394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F75AB37-5A36-4A1A-814F-20B7E1768D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A684FEF-7AC3-49E9-8AD0-EAD1F7F53D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69ABC9D-B5AC-444E-828B-2B56EBCBC7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BE13301-4DD1-40FC-BC3F-DC8A8FD394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CF74C47-5C2E-42A0-96D0-860FEE1D5A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D2961E4-6331-4A27-B1C7-517647CE28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191AEC4-2A5D-4C5E-8810-BCDB0AEC8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52.4862</c:v>
                </c:pt>
                <c:pt idx="1">
                  <c:v>360.08690000000001</c:v>
                </c:pt>
                <c:pt idx="2">
                  <c:v>657.53</c:v>
                </c:pt>
                <c:pt idx="3">
                  <c:v>321.74520000000001</c:v>
                </c:pt>
                <c:pt idx="4">
                  <c:v>539.44320000000005</c:v>
                </c:pt>
                <c:pt idx="5">
                  <c:v>408.41359999999997</c:v>
                </c:pt>
              </c:numCache>
            </c:numRef>
          </c:xVal>
          <c:yVal>
            <c:numRef>
              <c:f>Sheet1!$B$2:$B$7</c:f>
              <c:numCache>
                <c:formatCode>General</c:formatCode>
                <c:ptCount val="6"/>
                <c:pt idx="0">
                  <c:v>0.46800000000000003</c:v>
                </c:pt>
                <c:pt idx="1">
                  <c:v>1.6890000000000001</c:v>
                </c:pt>
                <c:pt idx="2">
                  <c:v>2.121</c:v>
                </c:pt>
                <c:pt idx="3">
                  <c:v>1.8420000000000001</c:v>
                </c:pt>
                <c:pt idx="4">
                  <c:v>2.2389999999999999</c:v>
                </c:pt>
                <c:pt idx="5">
                  <c:v>2.1920000000000002</c:v>
                </c:pt>
              </c:numCache>
            </c:numRef>
          </c:yVal>
          <c:bubbleSize>
            <c:numRef>
              <c:f>Sheet1!$C$2:$C$7</c:f>
              <c:numCache>
                <c:formatCode>General</c:formatCode>
                <c:ptCount val="6"/>
                <c:pt idx="0">
                  <c:v>3012160</c:v>
                </c:pt>
                <c:pt idx="1">
                  <c:v>2739181</c:v>
                </c:pt>
                <c:pt idx="2">
                  <c:v>2693243</c:v>
                </c:pt>
                <c:pt idx="3">
                  <c:v>1190779</c:v>
                </c:pt>
                <c:pt idx="4">
                  <c:v>284826</c:v>
                </c:pt>
                <c:pt idx="5">
                  <c:v>191546</c:v>
                </c:pt>
              </c:numCache>
            </c:numRef>
          </c:bubbleSize>
          <c:bubble3D val="0"/>
          <c:extLst>
            <c:ext xmlns:c15="http://schemas.microsoft.com/office/drawing/2012/chart" uri="{02D57815-91ED-43cb-92C2-25804820EDAC}">
              <c15:datalabelsRange>
                <c15:f>Sheet1!$E$2:$E$10</c15:f>
                <c15:dlblRangeCache>
                  <c:ptCount val="9"/>
                  <c:pt idx="0">
                    <c:v>Edgewell</c:v>
                  </c:pt>
                  <c:pt idx="1">
                    <c:v>Australian Gold</c:v>
                  </c:pt>
                  <c:pt idx="2">
                    <c:v>Bioderma</c:v>
                  </c:pt>
                  <c:pt idx="3">
                    <c:v>Sun &amp; Skin Care Research</c:v>
                  </c:pt>
                  <c:pt idx="4">
                    <c:v>L'Oreal</c:v>
                  </c:pt>
                  <c:pt idx="5">
                    <c:v>Labs. Expanscie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9"/>
          <c:min val="20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84DD79E-5377-4CE3-A4EA-0341BC9610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612794C-3D8B-438C-B677-B5A0815DB9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BE96C72-9A35-491B-9609-4CE0A1A847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BE24F1D-F9C1-4DDC-A546-6ED915CFA5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3EF9D41-AACC-49CA-80B3-00A3C5F1DB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5BA6596-9E3F-4807-85FE-5E0FFEA51B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F37D6F4-A3B2-40A1-B006-F0870FF2F3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1AC90B3-C04A-4504-84C3-D22EF6D55F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428.661</c:v>
                </c:pt>
                <c:pt idx="1">
                  <c:v>351.09890000000001</c:v>
                </c:pt>
              </c:numCache>
            </c:numRef>
          </c:xVal>
          <c:yVal>
            <c:numRef>
              <c:f>Sheet1!$B$2:$B$3</c:f>
              <c:numCache>
                <c:formatCode>General</c:formatCode>
                <c:ptCount val="2"/>
                <c:pt idx="0">
                  <c:v>2.2709999999999999</c:v>
                </c:pt>
                <c:pt idx="1">
                  <c:v>0.318</c:v>
                </c:pt>
              </c:numCache>
            </c:numRef>
          </c:yVal>
          <c:bubbleSize>
            <c:numRef>
              <c:f>Sheet1!$C$2:$C$3</c:f>
              <c:numCache>
                <c:formatCode>General</c:formatCode>
                <c:ptCount val="2"/>
                <c:pt idx="0">
                  <c:v>4708412</c:v>
                </c:pt>
                <c:pt idx="1">
                  <c:v>2155747</c:v>
                </c:pt>
              </c:numCache>
            </c:numRef>
          </c:bubbleSize>
          <c:bubble3D val="0"/>
          <c:extLst>
            <c:ext xmlns:c15="http://schemas.microsoft.com/office/drawing/2012/chart" uri="{02D57815-91ED-43cb-92C2-25804820EDAC}">
              <c15:datalabelsRange>
                <c15:f>Sheet1!$E$2:$E$10</c15:f>
                <c15:dlblRangeCache>
                  <c:ptCount val="9"/>
                  <c:pt idx="0">
                    <c:v>Isdin</c:v>
                  </c:pt>
                  <c:pt idx="1">
                    <c:v>J&amp;J</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14"/>
          <c:min val="28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F36C-4467-9EB3-294FDDE544D8}"/>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F36C-4467-9EB3-294FDDE544D8}"/>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lvl>
                <c:lvl>
                  <c:pt idx="0">
                    <c:v>Sunscreen Crema</c:v>
                  </c:pt>
                  <c:pt idx="2">
                    <c:v>Sunscreen Liquido</c:v>
                  </c:pt>
                  <c:pt idx="4">
                    <c:v>Sunscreen Gel</c:v>
                  </c:pt>
                  <c:pt idx="6">
                    <c:v>Sunscreen Fluido</c:v>
                  </c:pt>
                  <c:pt idx="8">
                    <c:v>Sunscreen Locion</c:v>
                  </c:pt>
                  <c:pt idx="10">
                    <c:v>Sunscreen Aceite</c:v>
                  </c:pt>
                  <c:pt idx="12">
                    <c:v>Sunscreen Stick</c:v>
                  </c:pt>
                  <c:pt idx="14">
                    <c:v>Sunscreen Gel-Crema</c:v>
                  </c:pt>
                </c:lvl>
                <c:lvl>
                  <c:pt idx="0">
                    <c:v>Sunscreen</c:v>
                  </c:pt>
                </c:lvl>
              </c:multiLvlStrCache>
            </c:multiLvlStrRef>
          </c:cat>
          <c:val>
            <c:numRef>
              <c:f>Sheet1!$D$2:$D$17</c:f>
              <c:numCache>
                <c:formatCode>General</c:formatCode>
                <c:ptCount val="16"/>
                <c:pt idx="0">
                  <c:v>1907.3</c:v>
                </c:pt>
                <c:pt idx="1">
                  <c:v>198.8</c:v>
                </c:pt>
                <c:pt idx="2">
                  <c:v>825.5</c:v>
                </c:pt>
                <c:pt idx="3">
                  <c:v>362.4</c:v>
                </c:pt>
                <c:pt idx="4">
                  <c:v>447.2</c:v>
                </c:pt>
                <c:pt idx="5">
                  <c:v>0</c:v>
                </c:pt>
                <c:pt idx="6">
                  <c:v>393.9</c:v>
                </c:pt>
                <c:pt idx="7">
                  <c:v>0.7</c:v>
                </c:pt>
                <c:pt idx="8">
                  <c:v>121.7</c:v>
                </c:pt>
                <c:pt idx="9">
                  <c:v>96.9</c:v>
                </c:pt>
                <c:pt idx="10">
                  <c:v>73.099999999999994</c:v>
                </c:pt>
                <c:pt idx="11">
                  <c:v>0</c:v>
                </c:pt>
                <c:pt idx="12">
                  <c:v>61</c:v>
                </c:pt>
                <c:pt idx="13">
                  <c:v>0</c:v>
                </c:pt>
                <c:pt idx="14">
                  <c:v>42.3</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480.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23.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533.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82.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3000.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F36C-4467-9EB3-294FDDE544D8}"/>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F36C-4467-9EB3-294FDDE544D8}"/>
                </c:ext>
              </c:extLst>
            </c:dLbl>
            <c:dLbl>
              <c:idx val="6"/>
              <c:tx>
                <c:rich>
                  <a:bodyPr/>
                  <a:lstStyle/>
                  <a:p>
                    <a:r>
                      <a:t>12486.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F36C-4467-9EB3-294FDDE544D8}"/>
                </c:ext>
              </c:extLst>
            </c:dLbl>
            <c:dLbl>
              <c:idx val="7"/>
              <c:tx>
                <c:rich>
                  <a:bodyPr/>
                  <a:lstStyle/>
                  <a:p>
                    <a:r>
                      <a:t>5581.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F36C-4467-9EB3-294FDDE544D8}"/>
                </c:ext>
              </c:extLst>
            </c:dLbl>
            <c:dLbl>
              <c:idx val="8"/>
              <c:tx>
                <c:rich>
                  <a:bodyPr/>
                  <a:lstStyle/>
                  <a:p>
                    <a:r>
                      <a:t>158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F36C-4467-9EB3-294FDDE544D8}"/>
                </c:ext>
              </c:extLst>
            </c:dLbl>
            <c:dLbl>
              <c:idx val="9"/>
              <c:tx>
                <c:rich>
                  <a:bodyPr/>
                  <a:lstStyle/>
                  <a:p>
                    <a:r>
                      <a:t>1443.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F36C-4467-9EB3-294FDDE544D8}"/>
                </c:ext>
              </c:extLst>
            </c:dLbl>
            <c:dLbl>
              <c:idx val="10"/>
              <c:tx>
                <c:rich>
                  <a:bodyPr/>
                  <a:lstStyle/>
                  <a:p>
                    <a:r>
                      <a:t>3616.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F36C-4467-9EB3-294FDDE544D8}"/>
                </c:ext>
              </c:extLst>
            </c:dLbl>
            <c:dLbl>
              <c:idx val="11"/>
              <c:tx>
                <c:rich>
                  <a:bodyPr/>
                  <a:lstStyle/>
                  <a:p>
                    <a:r>
                      <a:t>4352.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F36C-4467-9EB3-294FDDE544D8}"/>
                </c:ext>
              </c:extLst>
            </c:dLbl>
            <c:dLbl>
              <c:idx val="12"/>
              <c:tx>
                <c:rich>
                  <a:bodyPr/>
                  <a:lstStyle/>
                  <a:p>
                    <a:r>
                      <a:t>2994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F36C-4467-9EB3-294FDDE544D8}"/>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F36C-4467-9EB3-294FDDE544D8}"/>
                </c:ext>
              </c:extLst>
            </c:dLbl>
            <c:dLbl>
              <c:idx val="14"/>
              <c:tx>
                <c:rich>
                  <a:bodyPr/>
                  <a:lstStyle/>
                  <a:p>
                    <a:r>
                      <a:t>9679.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F36C-4467-9EB3-294FDDE544D8}"/>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F36C-4467-9EB3-294FDDE544D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lvl>
                <c:lvl>
                  <c:pt idx="0">
                    <c:v>Sunscreen Crema</c:v>
                  </c:pt>
                  <c:pt idx="2">
                    <c:v>Sunscreen Liquido</c:v>
                  </c:pt>
                  <c:pt idx="4">
                    <c:v>Sunscreen Gel</c:v>
                  </c:pt>
                  <c:pt idx="6">
                    <c:v>Sunscreen Fluido</c:v>
                  </c:pt>
                  <c:pt idx="8">
                    <c:v>Sunscreen Locion</c:v>
                  </c:pt>
                  <c:pt idx="10">
                    <c:v>Sunscreen Aceite</c:v>
                  </c:pt>
                  <c:pt idx="12">
                    <c:v>Sunscreen Stick</c:v>
                  </c:pt>
                  <c:pt idx="14">
                    <c:v>Sunscreen Gel-Crema</c:v>
                  </c:pt>
                </c:lvl>
                <c:lvl>
                  <c:pt idx="0">
                    <c:v>Sunscreen</c:v>
                  </c:pt>
                </c:lvl>
              </c:multiLvlStrCache>
            </c:multiLvlStrRef>
          </c:cat>
          <c:val>
            <c:numRef>
              <c:f>Sheet1!$E$2:$E$17</c:f>
              <c:numCache>
                <c:formatCode>General</c:formatCode>
                <c:ptCount val="16"/>
                <c:pt idx="0">
                  <c:v>2480.8530999999998</c:v>
                </c:pt>
                <c:pt idx="1">
                  <c:v>1123.8214</c:v>
                </c:pt>
                <c:pt idx="2">
                  <c:v>1533.6077</c:v>
                </c:pt>
                <c:pt idx="3">
                  <c:v>1282.7216000000001</c:v>
                </c:pt>
                <c:pt idx="4">
                  <c:v>3000.1498000000001</c:v>
                </c:pt>
                <c:pt idx="5">
                  <c:v>0</c:v>
                </c:pt>
                <c:pt idx="6">
                  <c:v>12486.0093</c:v>
                </c:pt>
                <c:pt idx="7">
                  <c:v>5581.5780999999997</c:v>
                </c:pt>
                <c:pt idx="8">
                  <c:v>1589.2047</c:v>
                </c:pt>
                <c:pt idx="9">
                  <c:v>1443.2366999999999</c:v>
                </c:pt>
                <c:pt idx="10">
                  <c:v>3616.8251</c:v>
                </c:pt>
                <c:pt idx="11">
                  <c:v>4352</c:v>
                </c:pt>
                <c:pt idx="12">
                  <c:v>29942.361799999999</c:v>
                </c:pt>
                <c:pt idx="13">
                  <c:v>0</c:v>
                </c:pt>
                <c:pt idx="14">
                  <c:v>9679.4454999999998</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4D5C-4085-BB41-7FE6FE56C211}"/>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4D5C-4085-BB41-7FE6FE56C211}"/>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lvl>
                <c:lvl>
                  <c:pt idx="0">
                    <c:v>Sunscreen Crema</c:v>
                  </c:pt>
                  <c:pt idx="2">
                    <c:v>Sunscreen Liquido</c:v>
                  </c:pt>
                  <c:pt idx="4">
                    <c:v>Sunscreen Gel</c:v>
                  </c:pt>
                  <c:pt idx="6">
                    <c:v>Sunscreen Fluido</c:v>
                  </c:pt>
                  <c:pt idx="8">
                    <c:v>Sunscreen Locion</c:v>
                  </c:pt>
                  <c:pt idx="10">
                    <c:v>Sunscreen Aceite</c:v>
                  </c:pt>
                  <c:pt idx="12">
                    <c:v>Sunscreen Stick</c:v>
                  </c:pt>
                  <c:pt idx="14">
                    <c:v>Sunscreen Gel-Crema</c:v>
                  </c:pt>
                </c:lvl>
                <c:lvl>
                  <c:pt idx="0">
                    <c:v>Sunscreen</c:v>
                  </c:pt>
                </c:lvl>
              </c:multiLvlStrCache>
            </c:multiLvlStrRef>
          </c:cat>
          <c:val>
            <c:numRef>
              <c:f>Sheet1!$D$2:$D$17</c:f>
              <c:numCache>
                <c:formatCode>General</c:formatCode>
                <c:ptCount val="16"/>
                <c:pt idx="0">
                  <c:v>1694.9</c:v>
                </c:pt>
                <c:pt idx="1">
                  <c:v>190.2</c:v>
                </c:pt>
                <c:pt idx="2">
                  <c:v>770.8</c:v>
                </c:pt>
                <c:pt idx="3">
                  <c:v>350.3</c:v>
                </c:pt>
                <c:pt idx="4">
                  <c:v>413.8</c:v>
                </c:pt>
                <c:pt idx="5">
                  <c:v>0</c:v>
                </c:pt>
                <c:pt idx="6">
                  <c:v>350.8</c:v>
                </c:pt>
                <c:pt idx="7">
                  <c:v>0.7</c:v>
                </c:pt>
                <c:pt idx="8">
                  <c:v>116.7</c:v>
                </c:pt>
                <c:pt idx="9">
                  <c:v>92.7</c:v>
                </c:pt>
                <c:pt idx="10">
                  <c:v>70.8</c:v>
                </c:pt>
                <c:pt idx="11">
                  <c:v>0</c:v>
                </c:pt>
                <c:pt idx="12">
                  <c:v>59.3</c:v>
                </c:pt>
                <c:pt idx="13">
                  <c:v>0</c:v>
                </c:pt>
                <c:pt idx="14">
                  <c:v>41.7</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56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38.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552.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99.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2980.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4D5C-4085-BB41-7FE6FE56C211}"/>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4D5C-4085-BB41-7FE6FE56C211}"/>
                </c:ext>
              </c:extLst>
            </c:dLbl>
            <c:dLbl>
              <c:idx val="6"/>
              <c:tx>
                <c:rich>
                  <a:bodyPr/>
                  <a:lstStyle/>
                  <a:p>
                    <a:r>
                      <a:t>12934.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4D5C-4085-BB41-7FE6FE56C211}"/>
                </c:ext>
              </c:extLst>
            </c:dLbl>
            <c:dLbl>
              <c:idx val="7"/>
              <c:tx>
                <c:rich>
                  <a:bodyPr/>
                  <a:lstStyle/>
                  <a:p>
                    <a:r>
                      <a:t>5904.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4D5C-4085-BB41-7FE6FE56C211}"/>
                </c:ext>
              </c:extLst>
            </c:dLbl>
            <c:dLbl>
              <c:idx val="8"/>
              <c:tx>
                <c:rich>
                  <a:bodyPr/>
                  <a:lstStyle/>
                  <a:p>
                    <a:r>
                      <a:t>1626.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4D5C-4085-BB41-7FE6FE56C211}"/>
                </c:ext>
              </c:extLst>
            </c:dLbl>
            <c:dLbl>
              <c:idx val="9"/>
              <c:tx>
                <c:rich>
                  <a:bodyPr/>
                  <a:lstStyle/>
                  <a:p>
                    <a:r>
                      <a:t>1459.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4D5C-4085-BB41-7FE6FE56C211}"/>
                </c:ext>
              </c:extLst>
            </c:dLbl>
            <c:dLbl>
              <c:idx val="10"/>
              <c:tx>
                <c:rich>
                  <a:bodyPr/>
                  <a:lstStyle/>
                  <a:p>
                    <a:r>
                      <a:t>3753.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4D5C-4085-BB41-7FE6FE56C211}"/>
                </c:ext>
              </c:extLst>
            </c:dLbl>
            <c:dLbl>
              <c:idx val="11"/>
              <c:tx>
                <c:rich>
                  <a:bodyPr/>
                  <a:lstStyle/>
                  <a:p>
                    <a:r>
                      <a:t>4352.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4D5C-4085-BB41-7FE6FE56C211}"/>
                </c:ext>
              </c:extLst>
            </c:dLbl>
            <c:dLbl>
              <c:idx val="12"/>
              <c:tx>
                <c:rich>
                  <a:bodyPr/>
                  <a:lstStyle/>
                  <a:p>
                    <a:r>
                      <a:t>34951.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4D5C-4085-BB41-7FE6FE56C211}"/>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4D5C-4085-BB41-7FE6FE56C211}"/>
                </c:ext>
              </c:extLst>
            </c:dLbl>
            <c:dLbl>
              <c:idx val="14"/>
              <c:tx>
                <c:rich>
                  <a:bodyPr/>
                  <a:lstStyle/>
                  <a:p>
                    <a:r>
                      <a:t>10208.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4D5C-4085-BB41-7FE6FE56C211}"/>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4D5C-4085-BB41-7FE6FE56C21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lvl>
                <c:lvl>
                  <c:pt idx="0">
                    <c:v>Sunscreen Crema</c:v>
                  </c:pt>
                  <c:pt idx="2">
                    <c:v>Sunscreen Liquido</c:v>
                  </c:pt>
                  <c:pt idx="4">
                    <c:v>Sunscreen Gel</c:v>
                  </c:pt>
                  <c:pt idx="6">
                    <c:v>Sunscreen Fluido</c:v>
                  </c:pt>
                  <c:pt idx="8">
                    <c:v>Sunscreen Locion</c:v>
                  </c:pt>
                  <c:pt idx="10">
                    <c:v>Sunscreen Aceite</c:v>
                  </c:pt>
                  <c:pt idx="12">
                    <c:v>Sunscreen Stick</c:v>
                  </c:pt>
                  <c:pt idx="14">
                    <c:v>Sunscreen Gel-Crema</c:v>
                  </c:pt>
                </c:lvl>
                <c:lvl>
                  <c:pt idx="0">
                    <c:v>Sunscreen</c:v>
                  </c:pt>
                </c:lvl>
              </c:multiLvlStrCache>
            </c:multiLvlStrRef>
          </c:cat>
          <c:val>
            <c:numRef>
              <c:f>Sheet1!$E$2:$E$17</c:f>
              <c:numCache>
                <c:formatCode>General</c:formatCode>
                <c:ptCount val="16"/>
                <c:pt idx="0">
                  <c:v>2560.0007000000001</c:v>
                </c:pt>
                <c:pt idx="1">
                  <c:v>1138.9525000000001</c:v>
                </c:pt>
                <c:pt idx="2">
                  <c:v>1552.5425</c:v>
                </c:pt>
                <c:pt idx="3">
                  <c:v>1299.3949</c:v>
                </c:pt>
                <c:pt idx="4">
                  <c:v>2980.4443000000001</c:v>
                </c:pt>
                <c:pt idx="5">
                  <c:v>0</c:v>
                </c:pt>
                <c:pt idx="6">
                  <c:v>12934.4946</c:v>
                </c:pt>
                <c:pt idx="7">
                  <c:v>5904.0496000000003</c:v>
                </c:pt>
                <c:pt idx="8">
                  <c:v>1626.7792999999999</c:v>
                </c:pt>
                <c:pt idx="9">
                  <c:v>1459.6442</c:v>
                </c:pt>
                <c:pt idx="10">
                  <c:v>3753.9643999999998</c:v>
                </c:pt>
                <c:pt idx="11">
                  <c:v>4352</c:v>
                </c:pt>
                <c:pt idx="12">
                  <c:v>34951.069499999998</c:v>
                </c:pt>
                <c:pt idx="13">
                  <c:v>0</c:v>
                </c:pt>
                <c:pt idx="14">
                  <c:v>10208.26</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063A-438F-88EB-4EE8FF1BA836}"/>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063A-438F-88EB-4EE8FF1BA836}"/>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pt idx="16">
                    <c:v>Total</c:v>
                  </c:pt>
                  <c:pt idx="17">
                    <c:v>Edgewell</c:v>
                  </c:pt>
                </c:lvl>
                <c:lvl>
                  <c:pt idx="0">
                    <c:v>Sunscreen Crema</c:v>
                  </c:pt>
                  <c:pt idx="2">
                    <c:v>Sunscreen Fluido</c:v>
                  </c:pt>
                  <c:pt idx="4">
                    <c:v>Sunscreen Gel</c:v>
                  </c:pt>
                  <c:pt idx="6">
                    <c:v>Sunscreen Liquido</c:v>
                  </c:pt>
                  <c:pt idx="8">
                    <c:v>Sunscreen Aceite</c:v>
                  </c:pt>
                  <c:pt idx="10">
                    <c:v>Sunscreen Stick</c:v>
                  </c:pt>
                  <c:pt idx="12">
                    <c:v>Sunscreen Locion</c:v>
                  </c:pt>
                  <c:pt idx="14">
                    <c:v>Sunscreen Gel-Crema</c:v>
                  </c:pt>
                  <c:pt idx="16">
                    <c:v>Sunscreen Spray</c:v>
                  </c:pt>
                </c:lvl>
                <c:lvl>
                  <c:pt idx="0">
                    <c:v>Sunscreen</c:v>
                  </c:pt>
                </c:lvl>
              </c:multiLvlStrCache>
            </c:multiLvlStrRef>
          </c:cat>
          <c:val>
            <c:numRef>
              <c:f>Sheet1!$D$2:$D$19</c:f>
              <c:numCache>
                <c:formatCode>General</c:formatCode>
                <c:ptCount val="18"/>
                <c:pt idx="0">
                  <c:v>936.4</c:v>
                </c:pt>
                <c:pt idx="1">
                  <c:v>51</c:v>
                </c:pt>
                <c:pt idx="2">
                  <c:v>294</c:v>
                </c:pt>
                <c:pt idx="3">
                  <c:v>0</c:v>
                </c:pt>
                <c:pt idx="4">
                  <c:v>283.89999999999998</c:v>
                </c:pt>
                <c:pt idx="5">
                  <c:v>0</c:v>
                </c:pt>
                <c:pt idx="6">
                  <c:v>276.5</c:v>
                </c:pt>
                <c:pt idx="7">
                  <c:v>99.5</c:v>
                </c:pt>
                <c:pt idx="8">
                  <c:v>52.2</c:v>
                </c:pt>
                <c:pt idx="9">
                  <c:v>0</c:v>
                </c:pt>
                <c:pt idx="10">
                  <c:v>48.9</c:v>
                </c:pt>
                <c:pt idx="11">
                  <c:v>0</c:v>
                </c:pt>
                <c:pt idx="12">
                  <c:v>40</c:v>
                </c:pt>
                <c:pt idx="13">
                  <c:v>24.3</c:v>
                </c:pt>
                <c:pt idx="14">
                  <c:v>38.9</c:v>
                </c:pt>
                <c:pt idx="15">
                  <c:v>0</c:v>
                </c:pt>
                <c:pt idx="16">
                  <c:v>27.1</c:v>
                </c:pt>
                <c:pt idx="1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4768.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35.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698.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4428.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063A-438F-88EB-4EE8FF1BA836}"/>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063A-438F-88EB-4EE8FF1BA836}"/>
                </c:ext>
              </c:extLst>
            </c:dLbl>
            <c:dLbl>
              <c:idx val="6"/>
              <c:tx>
                <c:rich>
                  <a:bodyPr/>
                  <a:lstStyle/>
                  <a:p>
                    <a:r>
                      <a:t>1990.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063A-438F-88EB-4EE8FF1BA836}"/>
                </c:ext>
              </c:extLst>
            </c:dLbl>
            <c:dLbl>
              <c:idx val="7"/>
              <c:tx>
                <c:rich>
                  <a:bodyPr/>
                  <a:lstStyle/>
                  <a:p>
                    <a:r>
                      <a:t>1354.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063A-438F-88EB-4EE8FF1BA836}"/>
                </c:ext>
              </c:extLst>
            </c:dLbl>
            <c:dLbl>
              <c:idx val="8"/>
              <c:tx>
                <c:rich>
                  <a:bodyPr/>
                  <a:lstStyle/>
                  <a:p>
                    <a:r>
                      <a:t>4403.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063A-438F-88EB-4EE8FF1BA836}"/>
                </c:ext>
              </c:extLst>
            </c:dLbl>
            <c:dLbl>
              <c:idx val="9"/>
              <c:tx>
                <c:rich>
                  <a:bodyPr/>
                  <a:lstStyle/>
                  <a:p>
                    <a:r>
                      <a:t>4352.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063A-438F-88EB-4EE8FF1BA836}"/>
                </c:ext>
              </c:extLst>
            </c:dLbl>
            <c:dLbl>
              <c:idx val="10"/>
              <c:tx>
                <c:rich>
                  <a:bodyPr/>
                  <a:lstStyle/>
                  <a:p>
                    <a:r>
                      <a:t>38518.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063A-438F-88EB-4EE8FF1BA836}"/>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063A-438F-88EB-4EE8FF1BA836}"/>
                </c:ext>
              </c:extLst>
            </c:dLbl>
            <c:dLbl>
              <c:idx val="12"/>
              <c:tx>
                <c:rich>
                  <a:bodyPr/>
                  <a:lstStyle/>
                  <a:p>
                    <a:r>
                      <a:t>2041.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063A-438F-88EB-4EE8FF1BA836}"/>
                </c:ext>
              </c:extLst>
            </c:dLbl>
            <c:dLbl>
              <c:idx val="13"/>
              <c:tx>
                <c:rich>
                  <a:bodyPr/>
                  <a:lstStyle/>
                  <a:p>
                    <a:r>
                      <a:t>1660.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063A-438F-88EB-4EE8FF1BA836}"/>
                </c:ext>
              </c:extLst>
            </c:dLbl>
            <c:dLbl>
              <c:idx val="14"/>
              <c:tx>
                <c:rich>
                  <a:bodyPr/>
                  <a:lstStyle/>
                  <a:p>
                    <a:r>
                      <a:t>10908.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063A-438F-88EB-4EE8FF1BA836}"/>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063A-438F-88EB-4EE8FF1BA836}"/>
                </c:ext>
              </c:extLst>
            </c:dLbl>
            <c:dLbl>
              <c:idx val="16"/>
              <c:tx>
                <c:rich>
                  <a:bodyPr/>
                  <a:lstStyle/>
                  <a:p>
                    <a:r>
                      <a:t>3034.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063A-438F-88EB-4EE8FF1BA836}"/>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063A-438F-88EB-4EE8FF1BA83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pt idx="16">
                    <c:v>Total</c:v>
                  </c:pt>
                  <c:pt idx="17">
                    <c:v>Edgewell</c:v>
                  </c:pt>
                </c:lvl>
                <c:lvl>
                  <c:pt idx="0">
                    <c:v>Sunscreen Crema</c:v>
                  </c:pt>
                  <c:pt idx="2">
                    <c:v>Sunscreen Fluido</c:v>
                  </c:pt>
                  <c:pt idx="4">
                    <c:v>Sunscreen Gel</c:v>
                  </c:pt>
                  <c:pt idx="6">
                    <c:v>Sunscreen Liquido</c:v>
                  </c:pt>
                  <c:pt idx="8">
                    <c:v>Sunscreen Aceite</c:v>
                  </c:pt>
                  <c:pt idx="10">
                    <c:v>Sunscreen Stick</c:v>
                  </c:pt>
                  <c:pt idx="12">
                    <c:v>Sunscreen Locion</c:v>
                  </c:pt>
                  <c:pt idx="14">
                    <c:v>Sunscreen Gel-Crema</c:v>
                  </c:pt>
                  <c:pt idx="16">
                    <c:v>Sunscreen Spray</c:v>
                  </c:pt>
                </c:lvl>
                <c:lvl>
                  <c:pt idx="0">
                    <c:v>Sunscreen</c:v>
                  </c:pt>
                </c:lvl>
              </c:multiLvlStrCache>
            </c:multiLvlStrRef>
          </c:cat>
          <c:val>
            <c:numRef>
              <c:f>Sheet1!$E$2:$E$19</c:f>
              <c:numCache>
                <c:formatCode>General</c:formatCode>
                <c:ptCount val="18"/>
                <c:pt idx="0">
                  <c:v>4768.9269000000004</c:v>
                </c:pt>
                <c:pt idx="1">
                  <c:v>1235.9358999999999</c:v>
                </c:pt>
                <c:pt idx="2">
                  <c:v>13698.9069</c:v>
                </c:pt>
                <c:pt idx="3">
                  <c:v>0</c:v>
                </c:pt>
                <c:pt idx="4">
                  <c:v>4428.4740000000002</c:v>
                </c:pt>
                <c:pt idx="5">
                  <c:v>0</c:v>
                </c:pt>
                <c:pt idx="6">
                  <c:v>1990.7431999999999</c:v>
                </c:pt>
                <c:pt idx="7">
                  <c:v>1354.7808</c:v>
                </c:pt>
                <c:pt idx="8">
                  <c:v>4403.4684999999999</c:v>
                </c:pt>
                <c:pt idx="9">
                  <c:v>4352</c:v>
                </c:pt>
                <c:pt idx="10">
                  <c:v>38518.407099999997</c:v>
                </c:pt>
                <c:pt idx="11">
                  <c:v>0</c:v>
                </c:pt>
                <c:pt idx="12">
                  <c:v>2041.4597000000001</c:v>
                </c:pt>
                <c:pt idx="13">
                  <c:v>1660.8920000000001</c:v>
                </c:pt>
                <c:pt idx="14">
                  <c:v>10908.8266</c:v>
                </c:pt>
                <c:pt idx="15">
                  <c:v>0</c:v>
                </c:pt>
                <c:pt idx="16">
                  <c:v>3034.8571000000002</c:v>
                </c:pt>
                <c:pt idx="1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0301-4212-9504-AD6B8E01EBFD}"/>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3</c:f>
              <c:multiLvlStrCache>
                <c:ptCount val="12"/>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lvl>
                <c:lvl>
                  <c:pt idx="0">
                    <c:v>Sunscreen Crema</c:v>
                  </c:pt>
                  <c:pt idx="2">
                    <c:v>Sunscreen Liquido</c:v>
                  </c:pt>
                  <c:pt idx="4">
                    <c:v>Sunscreen Gel</c:v>
                  </c:pt>
                  <c:pt idx="6">
                    <c:v>Sunscreen Locion</c:v>
                  </c:pt>
                  <c:pt idx="8">
                    <c:v>Sunscreen Spray</c:v>
                  </c:pt>
                  <c:pt idx="10">
                    <c:v>Sunscreen Fluido</c:v>
                  </c:pt>
                </c:lvl>
                <c:lvl>
                  <c:pt idx="0">
                    <c:v>Sunscreen</c:v>
                  </c:pt>
                </c:lvl>
              </c:multiLvlStrCache>
            </c:multiLvlStrRef>
          </c:cat>
          <c:val>
            <c:numRef>
              <c:f>Sheet1!$D$2:$D$13</c:f>
              <c:numCache>
                <c:formatCode>General</c:formatCode>
                <c:ptCount val="12"/>
                <c:pt idx="0">
                  <c:v>16.399999999999999</c:v>
                </c:pt>
                <c:pt idx="1">
                  <c:v>1.6</c:v>
                </c:pt>
                <c:pt idx="2">
                  <c:v>5.4</c:v>
                </c:pt>
                <c:pt idx="3">
                  <c:v>1</c:v>
                </c:pt>
                <c:pt idx="4">
                  <c:v>1.9</c:v>
                </c:pt>
                <c:pt idx="5">
                  <c:v>0</c:v>
                </c:pt>
                <c:pt idx="6">
                  <c:v>0.6</c:v>
                </c:pt>
                <c:pt idx="7">
                  <c:v>0.5</c:v>
                </c:pt>
                <c:pt idx="8">
                  <c:v>0.4</c:v>
                </c:pt>
                <c:pt idx="9">
                  <c:v>0</c:v>
                </c:pt>
                <c:pt idx="10">
                  <c:v>0.3</c:v>
                </c:pt>
                <c:pt idx="11">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80.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024.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49.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88.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844.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0301-4212-9504-AD6B8E01EBFD}"/>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0301-4212-9504-AD6B8E01EBFD}"/>
                </c:ext>
              </c:extLst>
            </c:dLbl>
            <c:dLbl>
              <c:idx val="6"/>
              <c:tx>
                <c:rich>
                  <a:bodyPr/>
                  <a:lstStyle/>
                  <a:p>
                    <a:r>
                      <a:t>1505.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0301-4212-9504-AD6B8E01EBFD}"/>
                </c:ext>
              </c:extLst>
            </c:dLbl>
            <c:dLbl>
              <c:idx val="7"/>
              <c:tx>
                <c:rich>
                  <a:bodyPr/>
                  <a:lstStyle/>
                  <a:p>
                    <a:r>
                      <a:t>1632.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0301-4212-9504-AD6B8E01EBFD}"/>
                </c:ext>
              </c:extLst>
            </c:dLbl>
            <c:dLbl>
              <c:idx val="8"/>
              <c:tx>
                <c:rich>
                  <a:bodyPr/>
                  <a:lstStyle/>
                  <a:p>
                    <a:r>
                      <a:t>791.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0301-4212-9504-AD6B8E01EBFD}"/>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0301-4212-9504-AD6B8E01EBFD}"/>
                </c:ext>
              </c:extLst>
            </c:dLbl>
            <c:dLbl>
              <c:idx val="10"/>
              <c:tx>
                <c:rich>
                  <a:bodyPr/>
                  <a:lstStyle/>
                  <a:p>
                    <a:r>
                      <a:t>13214.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0301-4212-9504-AD6B8E01EBFD}"/>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0301-4212-9504-AD6B8E01EBF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3</c:f>
              <c:multiLvlStrCache>
                <c:ptCount val="12"/>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lvl>
                <c:lvl>
                  <c:pt idx="0">
                    <c:v>Sunscreen Crema</c:v>
                  </c:pt>
                  <c:pt idx="2">
                    <c:v>Sunscreen Liquido</c:v>
                  </c:pt>
                  <c:pt idx="4">
                    <c:v>Sunscreen Gel</c:v>
                  </c:pt>
                  <c:pt idx="6">
                    <c:v>Sunscreen Locion</c:v>
                  </c:pt>
                  <c:pt idx="8">
                    <c:v>Sunscreen Spray</c:v>
                  </c:pt>
                  <c:pt idx="10">
                    <c:v>Sunscreen Fluido</c:v>
                  </c:pt>
                </c:lvl>
                <c:lvl>
                  <c:pt idx="0">
                    <c:v>Sunscreen</c:v>
                  </c:pt>
                </c:lvl>
              </c:multiLvlStrCache>
            </c:multiLvlStrRef>
          </c:cat>
          <c:val>
            <c:numRef>
              <c:f>Sheet1!$E$2:$E$13</c:f>
              <c:numCache>
                <c:formatCode>General</c:formatCode>
                <c:ptCount val="12"/>
                <c:pt idx="0">
                  <c:v>1280.4523999999999</c:v>
                </c:pt>
                <c:pt idx="1">
                  <c:v>1024.4780000000001</c:v>
                </c:pt>
                <c:pt idx="2">
                  <c:v>1349.3814</c:v>
                </c:pt>
                <c:pt idx="3">
                  <c:v>1188.7530999999999</c:v>
                </c:pt>
                <c:pt idx="4">
                  <c:v>1844.4857999999999</c:v>
                </c:pt>
                <c:pt idx="5">
                  <c:v>0</c:v>
                </c:pt>
                <c:pt idx="6">
                  <c:v>1505.8407999999999</c:v>
                </c:pt>
                <c:pt idx="7">
                  <c:v>1632.9874</c:v>
                </c:pt>
                <c:pt idx="8">
                  <c:v>791.62879999999996</c:v>
                </c:pt>
                <c:pt idx="9">
                  <c:v>0</c:v>
                </c:pt>
                <c:pt idx="10">
                  <c:v>13214.6818</c:v>
                </c:pt>
                <c:pt idx="11">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E265-4066-87A9-48501BE14B5B}"/>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3</c:f>
              <c:multiLvlStrCache>
                <c:ptCount val="12"/>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lvl>
                <c:lvl>
                  <c:pt idx="0">
                    <c:v>Sunscreen Crema</c:v>
                  </c:pt>
                  <c:pt idx="2">
                    <c:v>Sunscreen Liquido</c:v>
                  </c:pt>
                  <c:pt idx="4">
                    <c:v>Sunscreen Gel</c:v>
                  </c:pt>
                  <c:pt idx="6">
                    <c:v>Sunscreen Locion</c:v>
                  </c:pt>
                  <c:pt idx="8">
                    <c:v>Sunscreen Fluido</c:v>
                  </c:pt>
                  <c:pt idx="10">
                    <c:v>Sunscreen Aceite</c:v>
                  </c:pt>
                </c:lvl>
                <c:lvl>
                  <c:pt idx="0">
                    <c:v>Sunscreen</c:v>
                  </c:pt>
                </c:lvl>
              </c:multiLvlStrCache>
            </c:multiLvlStrRef>
          </c:cat>
          <c:val>
            <c:numRef>
              <c:f>Sheet1!$D$2:$D$13</c:f>
              <c:numCache>
                <c:formatCode>General</c:formatCode>
                <c:ptCount val="12"/>
                <c:pt idx="0">
                  <c:v>756.8</c:v>
                </c:pt>
                <c:pt idx="1">
                  <c:v>138.9</c:v>
                </c:pt>
                <c:pt idx="2">
                  <c:v>492.3</c:v>
                </c:pt>
                <c:pt idx="3">
                  <c:v>250.3</c:v>
                </c:pt>
                <c:pt idx="4">
                  <c:v>129.80000000000001</c:v>
                </c:pt>
                <c:pt idx="5">
                  <c:v>0</c:v>
                </c:pt>
                <c:pt idx="6">
                  <c:v>76.599999999999994</c:v>
                </c:pt>
                <c:pt idx="7">
                  <c:v>68.3</c:v>
                </c:pt>
                <c:pt idx="8">
                  <c:v>56.8</c:v>
                </c:pt>
                <c:pt idx="9">
                  <c:v>0.7</c:v>
                </c:pt>
                <c:pt idx="10">
                  <c:v>18.5</c:v>
                </c:pt>
                <c:pt idx="11">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36.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09.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86.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81.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742.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E265-4066-87A9-48501BE14B5B}"/>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E265-4066-87A9-48501BE14B5B}"/>
                </c:ext>
              </c:extLst>
            </c:dLbl>
            <c:dLbl>
              <c:idx val="6"/>
              <c:tx>
                <c:rich>
                  <a:bodyPr/>
                  <a:lstStyle/>
                  <a:p>
                    <a:r>
                      <a:t>1480.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E265-4066-87A9-48501BE14B5B}"/>
                </c:ext>
              </c:extLst>
            </c:dLbl>
            <c:dLbl>
              <c:idx val="7"/>
              <c:tx>
                <c:rich>
                  <a:bodyPr/>
                  <a:lstStyle/>
                  <a:p>
                    <a:r>
                      <a:t>1403.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E265-4066-87A9-48501BE14B5B}"/>
                </c:ext>
              </c:extLst>
            </c:dLbl>
            <c:dLbl>
              <c:idx val="8"/>
              <c:tx>
                <c:rich>
                  <a:bodyPr/>
                  <a:lstStyle/>
                  <a:p>
                    <a:r>
                      <a:t>10910.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E265-4066-87A9-48501BE14B5B}"/>
                </c:ext>
              </c:extLst>
            </c:dLbl>
            <c:dLbl>
              <c:idx val="9"/>
              <c:tx>
                <c:rich>
                  <a:bodyPr/>
                  <a:lstStyle/>
                  <a:p>
                    <a:r>
                      <a:t>563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E265-4066-87A9-48501BE14B5B}"/>
                </c:ext>
              </c:extLst>
            </c:dLbl>
            <c:dLbl>
              <c:idx val="10"/>
              <c:tx>
                <c:rich>
                  <a:bodyPr/>
                  <a:lstStyle/>
                  <a:p>
                    <a:r>
                      <a:t>2652.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E265-4066-87A9-48501BE14B5B}"/>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E265-4066-87A9-48501BE14B5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3</c:f>
              <c:multiLvlStrCache>
                <c:ptCount val="12"/>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lvl>
                <c:lvl>
                  <c:pt idx="0">
                    <c:v>Sunscreen Crema</c:v>
                  </c:pt>
                  <c:pt idx="2">
                    <c:v>Sunscreen Liquido</c:v>
                  </c:pt>
                  <c:pt idx="4">
                    <c:v>Sunscreen Gel</c:v>
                  </c:pt>
                  <c:pt idx="6">
                    <c:v>Sunscreen Locion</c:v>
                  </c:pt>
                  <c:pt idx="8">
                    <c:v>Sunscreen Fluido</c:v>
                  </c:pt>
                  <c:pt idx="10">
                    <c:v>Sunscreen Aceite</c:v>
                  </c:pt>
                </c:lvl>
                <c:lvl>
                  <c:pt idx="0">
                    <c:v>Sunscreen</c:v>
                  </c:pt>
                </c:lvl>
              </c:multiLvlStrCache>
            </c:multiLvlStrRef>
          </c:cat>
          <c:val>
            <c:numRef>
              <c:f>Sheet1!$E$2:$E$13</c:f>
              <c:numCache>
                <c:formatCode>General</c:formatCode>
                <c:ptCount val="12"/>
                <c:pt idx="0">
                  <c:v>1636.5192</c:v>
                </c:pt>
                <c:pt idx="1">
                  <c:v>1109.1223</c:v>
                </c:pt>
                <c:pt idx="2">
                  <c:v>1386.2406000000001</c:v>
                </c:pt>
                <c:pt idx="3">
                  <c:v>1281.8721</c:v>
                </c:pt>
                <c:pt idx="4">
                  <c:v>1742.9694</c:v>
                </c:pt>
                <c:pt idx="5">
                  <c:v>0</c:v>
                </c:pt>
                <c:pt idx="6">
                  <c:v>1480.8145</c:v>
                </c:pt>
                <c:pt idx="7">
                  <c:v>1403.1635000000001</c:v>
                </c:pt>
                <c:pt idx="8">
                  <c:v>10910.921200000001</c:v>
                </c:pt>
                <c:pt idx="9">
                  <c:v>5633.8</c:v>
                </c:pt>
                <c:pt idx="10">
                  <c:v>2652.4679999999998</c:v>
                </c:pt>
                <c:pt idx="11">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1147-4254-B2EE-9104F83AD8F7}"/>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1147-4254-B2EE-9104F83AD8F7}"/>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lvl>
                <c:lvl>
                  <c:pt idx="0">
                    <c:v>Sunscreen Crema</c:v>
                  </c:pt>
                  <c:pt idx="2">
                    <c:v>Sunscreen Liquido</c:v>
                  </c:pt>
                  <c:pt idx="4">
                    <c:v>Sunscreen Gel</c:v>
                  </c:pt>
                  <c:pt idx="6">
                    <c:v>Sunscreen Fluido</c:v>
                  </c:pt>
                  <c:pt idx="8">
                    <c:v>Sunscreen Locion</c:v>
                  </c:pt>
                  <c:pt idx="10">
                    <c:v>Sunscreen Aceite</c:v>
                  </c:pt>
                  <c:pt idx="12">
                    <c:v>Sunscreen Stick</c:v>
                  </c:pt>
                  <c:pt idx="14">
                    <c:v>Sunscreen Gel-Crema</c:v>
                  </c:pt>
                </c:lvl>
                <c:lvl>
                  <c:pt idx="0">
                    <c:v>Sunscreen</c:v>
                  </c:pt>
                </c:lvl>
              </c:multiLvlStrCache>
            </c:multiLvlStrRef>
          </c:cat>
          <c:val>
            <c:numRef>
              <c:f>Sheet1!$D$2:$D$17</c:f>
              <c:numCache>
                <c:formatCode>General</c:formatCode>
                <c:ptCount val="16"/>
                <c:pt idx="0">
                  <c:v>1907.3</c:v>
                </c:pt>
                <c:pt idx="1">
                  <c:v>103.1</c:v>
                </c:pt>
                <c:pt idx="2">
                  <c:v>825.5</c:v>
                </c:pt>
                <c:pt idx="3">
                  <c:v>245.9</c:v>
                </c:pt>
                <c:pt idx="4">
                  <c:v>447.2</c:v>
                </c:pt>
                <c:pt idx="5">
                  <c:v>0</c:v>
                </c:pt>
                <c:pt idx="6">
                  <c:v>393.9</c:v>
                </c:pt>
                <c:pt idx="7">
                  <c:v>0</c:v>
                </c:pt>
                <c:pt idx="8">
                  <c:v>121.7</c:v>
                </c:pt>
                <c:pt idx="9">
                  <c:v>0</c:v>
                </c:pt>
                <c:pt idx="10">
                  <c:v>73.099999999999994</c:v>
                </c:pt>
                <c:pt idx="11">
                  <c:v>0</c:v>
                </c:pt>
                <c:pt idx="12">
                  <c:v>61</c:v>
                </c:pt>
                <c:pt idx="13">
                  <c:v>0</c:v>
                </c:pt>
                <c:pt idx="14">
                  <c:v>42.3</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480.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56.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533.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40.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3000.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147-4254-B2EE-9104F83AD8F7}"/>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147-4254-B2EE-9104F83AD8F7}"/>
                </c:ext>
              </c:extLst>
            </c:dLbl>
            <c:dLbl>
              <c:idx val="6"/>
              <c:tx>
                <c:rich>
                  <a:bodyPr/>
                  <a:lstStyle/>
                  <a:p>
                    <a:r>
                      <a:t>12486.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147-4254-B2EE-9104F83AD8F7}"/>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147-4254-B2EE-9104F83AD8F7}"/>
                </c:ext>
              </c:extLst>
            </c:dLbl>
            <c:dLbl>
              <c:idx val="8"/>
              <c:tx>
                <c:rich>
                  <a:bodyPr/>
                  <a:lstStyle/>
                  <a:p>
                    <a:r>
                      <a:t>158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147-4254-B2EE-9104F83AD8F7}"/>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147-4254-B2EE-9104F83AD8F7}"/>
                </c:ext>
              </c:extLst>
            </c:dLbl>
            <c:dLbl>
              <c:idx val="10"/>
              <c:tx>
                <c:rich>
                  <a:bodyPr/>
                  <a:lstStyle/>
                  <a:p>
                    <a:r>
                      <a:t>3616.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147-4254-B2EE-9104F83AD8F7}"/>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147-4254-B2EE-9104F83AD8F7}"/>
                </c:ext>
              </c:extLst>
            </c:dLbl>
            <c:dLbl>
              <c:idx val="12"/>
              <c:tx>
                <c:rich>
                  <a:bodyPr/>
                  <a:lstStyle/>
                  <a:p>
                    <a:r>
                      <a:t>2994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147-4254-B2EE-9104F83AD8F7}"/>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147-4254-B2EE-9104F83AD8F7}"/>
                </c:ext>
              </c:extLst>
            </c:dLbl>
            <c:dLbl>
              <c:idx val="14"/>
              <c:tx>
                <c:rich>
                  <a:bodyPr/>
                  <a:lstStyle/>
                  <a:p>
                    <a:r>
                      <a:t>9679.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147-4254-B2EE-9104F83AD8F7}"/>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147-4254-B2EE-9104F83AD8F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lvl>
                <c:lvl>
                  <c:pt idx="0">
                    <c:v>Sunscreen Crema</c:v>
                  </c:pt>
                  <c:pt idx="2">
                    <c:v>Sunscreen Liquido</c:v>
                  </c:pt>
                  <c:pt idx="4">
                    <c:v>Sunscreen Gel</c:v>
                  </c:pt>
                  <c:pt idx="6">
                    <c:v>Sunscreen Fluido</c:v>
                  </c:pt>
                  <c:pt idx="8">
                    <c:v>Sunscreen Locion</c:v>
                  </c:pt>
                  <c:pt idx="10">
                    <c:v>Sunscreen Aceite</c:v>
                  </c:pt>
                  <c:pt idx="12">
                    <c:v>Sunscreen Stick</c:v>
                  </c:pt>
                  <c:pt idx="14">
                    <c:v>Sunscreen Gel-Crema</c:v>
                  </c:pt>
                </c:lvl>
                <c:lvl>
                  <c:pt idx="0">
                    <c:v>Sunscreen</c:v>
                  </c:pt>
                </c:lvl>
              </c:multiLvlStrCache>
            </c:multiLvlStrRef>
          </c:cat>
          <c:val>
            <c:numRef>
              <c:f>Sheet1!$E$2:$E$17</c:f>
              <c:numCache>
                <c:formatCode>General</c:formatCode>
                <c:ptCount val="16"/>
                <c:pt idx="0">
                  <c:v>2480.8530999999998</c:v>
                </c:pt>
                <c:pt idx="1">
                  <c:v>1156.164</c:v>
                </c:pt>
                <c:pt idx="2">
                  <c:v>1533.6077</c:v>
                </c:pt>
                <c:pt idx="3">
                  <c:v>1240.519</c:v>
                </c:pt>
                <c:pt idx="4">
                  <c:v>3000.1498000000001</c:v>
                </c:pt>
                <c:pt idx="5">
                  <c:v>0</c:v>
                </c:pt>
                <c:pt idx="6">
                  <c:v>12486.0093</c:v>
                </c:pt>
                <c:pt idx="7">
                  <c:v>0</c:v>
                </c:pt>
                <c:pt idx="8">
                  <c:v>1589.2047</c:v>
                </c:pt>
                <c:pt idx="9">
                  <c:v>0</c:v>
                </c:pt>
                <c:pt idx="10">
                  <c:v>3616.8251</c:v>
                </c:pt>
                <c:pt idx="11">
                  <c:v>0</c:v>
                </c:pt>
                <c:pt idx="12">
                  <c:v>29942.361799999999</c:v>
                </c:pt>
                <c:pt idx="13">
                  <c:v>0</c:v>
                </c:pt>
                <c:pt idx="14">
                  <c:v>9679.4454999999998</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50D196-16FF-417E-942C-6F4C3712AC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D3CEE735-DF4D-4DF4-A365-DF79D5517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3A78791-D63E-4E55-9D93-22F2EEA3D5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739BBC4-3D0B-47B2-9FF8-9427D1AD3B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3B08584-B9CB-4C55-86F2-D869729788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59D2F8D-2A14-40F3-A59F-78133079F3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776C7C5-2D2B-42BA-9526-864EDE6E5B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2E654B2-C9C1-4040-BB11-36ACB15DA9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6.14070000000001</c:v>
                </c:pt>
              </c:numCache>
            </c:numRef>
          </c:xVal>
          <c:yVal>
            <c:numRef>
              <c:f>Sheet1!$B$2:$B$2</c:f>
              <c:numCache>
                <c:formatCode>General</c:formatCode>
                <c:ptCount val="1"/>
                <c:pt idx="0">
                  <c:v>1</c:v>
                </c:pt>
              </c:numCache>
            </c:numRef>
          </c:yVal>
          <c:bubbleSize>
            <c:numRef>
              <c:f>Sheet1!$C$2:$C$2</c:f>
              <c:numCache>
                <c:formatCode>General</c:formatCode>
                <c:ptCount val="1"/>
                <c:pt idx="0">
                  <c:v>3247129</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7"/>
          <c:min val="16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A111-4C68-A758-554982FAFB0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A111-4C68-A758-554982FAFB09}"/>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lvl>
                <c:lvl>
                  <c:pt idx="0">
                    <c:v>Sunscreen Crema</c:v>
                  </c:pt>
                  <c:pt idx="2">
                    <c:v>Sunscreen Liquido</c:v>
                  </c:pt>
                  <c:pt idx="4">
                    <c:v>Sunscreen Gel</c:v>
                  </c:pt>
                  <c:pt idx="6">
                    <c:v>Sunscreen Fluido</c:v>
                  </c:pt>
                  <c:pt idx="8">
                    <c:v>Sunscreen Locion</c:v>
                  </c:pt>
                  <c:pt idx="10">
                    <c:v>Sunscreen Aceite</c:v>
                  </c:pt>
                  <c:pt idx="12">
                    <c:v>Sunscreen Stick</c:v>
                  </c:pt>
                  <c:pt idx="14">
                    <c:v>Sunscreen Gel-Crema</c:v>
                  </c:pt>
                </c:lvl>
                <c:lvl>
                  <c:pt idx="0">
                    <c:v>Sunscreen</c:v>
                  </c:pt>
                </c:lvl>
              </c:multiLvlStrCache>
            </c:multiLvlStrRef>
          </c:cat>
          <c:val>
            <c:numRef>
              <c:f>Sheet1!$D$2:$D$17</c:f>
              <c:numCache>
                <c:formatCode>General</c:formatCode>
                <c:ptCount val="16"/>
                <c:pt idx="0">
                  <c:v>1694.9</c:v>
                </c:pt>
                <c:pt idx="1">
                  <c:v>100.2</c:v>
                </c:pt>
                <c:pt idx="2">
                  <c:v>770.8</c:v>
                </c:pt>
                <c:pt idx="3">
                  <c:v>238</c:v>
                </c:pt>
                <c:pt idx="4">
                  <c:v>413.8</c:v>
                </c:pt>
                <c:pt idx="5">
                  <c:v>0</c:v>
                </c:pt>
                <c:pt idx="6">
                  <c:v>350.8</c:v>
                </c:pt>
                <c:pt idx="7">
                  <c:v>0</c:v>
                </c:pt>
                <c:pt idx="8">
                  <c:v>116.7</c:v>
                </c:pt>
                <c:pt idx="9">
                  <c:v>0</c:v>
                </c:pt>
                <c:pt idx="10">
                  <c:v>70.8</c:v>
                </c:pt>
                <c:pt idx="11">
                  <c:v>0</c:v>
                </c:pt>
                <c:pt idx="12">
                  <c:v>59.3</c:v>
                </c:pt>
                <c:pt idx="13">
                  <c:v>0</c:v>
                </c:pt>
                <c:pt idx="14">
                  <c:v>41.7</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56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68.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552.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5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2980.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111-4C68-A758-554982FAFB09}"/>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111-4C68-A758-554982FAFB09}"/>
                </c:ext>
              </c:extLst>
            </c:dLbl>
            <c:dLbl>
              <c:idx val="6"/>
              <c:tx>
                <c:rich>
                  <a:bodyPr/>
                  <a:lstStyle/>
                  <a:p>
                    <a:r>
                      <a:t>12934.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111-4C68-A758-554982FAFB09}"/>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111-4C68-A758-554982FAFB09}"/>
                </c:ext>
              </c:extLst>
            </c:dLbl>
            <c:dLbl>
              <c:idx val="8"/>
              <c:tx>
                <c:rich>
                  <a:bodyPr/>
                  <a:lstStyle/>
                  <a:p>
                    <a:r>
                      <a:t>1626.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111-4C68-A758-554982FAFB09}"/>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111-4C68-A758-554982FAFB09}"/>
                </c:ext>
              </c:extLst>
            </c:dLbl>
            <c:dLbl>
              <c:idx val="10"/>
              <c:tx>
                <c:rich>
                  <a:bodyPr/>
                  <a:lstStyle/>
                  <a:p>
                    <a:r>
                      <a:t>3753.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111-4C68-A758-554982FAFB09}"/>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111-4C68-A758-554982FAFB09}"/>
                </c:ext>
              </c:extLst>
            </c:dLbl>
            <c:dLbl>
              <c:idx val="12"/>
              <c:tx>
                <c:rich>
                  <a:bodyPr/>
                  <a:lstStyle/>
                  <a:p>
                    <a:r>
                      <a:t>34951.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111-4C68-A758-554982FAFB09}"/>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111-4C68-A758-554982FAFB09}"/>
                </c:ext>
              </c:extLst>
            </c:dLbl>
            <c:dLbl>
              <c:idx val="14"/>
              <c:tx>
                <c:rich>
                  <a:bodyPr/>
                  <a:lstStyle/>
                  <a:p>
                    <a:r>
                      <a:t>10208.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111-4C68-A758-554982FAFB09}"/>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111-4C68-A758-554982FAFB0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lvl>
                <c:lvl>
                  <c:pt idx="0">
                    <c:v>Sunscreen Crema</c:v>
                  </c:pt>
                  <c:pt idx="2">
                    <c:v>Sunscreen Liquido</c:v>
                  </c:pt>
                  <c:pt idx="4">
                    <c:v>Sunscreen Gel</c:v>
                  </c:pt>
                  <c:pt idx="6">
                    <c:v>Sunscreen Fluido</c:v>
                  </c:pt>
                  <c:pt idx="8">
                    <c:v>Sunscreen Locion</c:v>
                  </c:pt>
                  <c:pt idx="10">
                    <c:v>Sunscreen Aceite</c:v>
                  </c:pt>
                  <c:pt idx="12">
                    <c:v>Sunscreen Stick</c:v>
                  </c:pt>
                  <c:pt idx="14">
                    <c:v>Sunscreen Gel-Crema</c:v>
                  </c:pt>
                </c:lvl>
                <c:lvl>
                  <c:pt idx="0">
                    <c:v>Sunscreen</c:v>
                  </c:pt>
                </c:lvl>
              </c:multiLvlStrCache>
            </c:multiLvlStrRef>
          </c:cat>
          <c:val>
            <c:numRef>
              <c:f>Sheet1!$E$2:$E$17</c:f>
              <c:numCache>
                <c:formatCode>General</c:formatCode>
                <c:ptCount val="16"/>
                <c:pt idx="0">
                  <c:v>2560.0007000000001</c:v>
                </c:pt>
                <c:pt idx="1">
                  <c:v>1168.9454000000001</c:v>
                </c:pt>
                <c:pt idx="2">
                  <c:v>1552.5425</c:v>
                </c:pt>
                <c:pt idx="3">
                  <c:v>1253.8046999999999</c:v>
                </c:pt>
                <c:pt idx="4">
                  <c:v>2980.4443000000001</c:v>
                </c:pt>
                <c:pt idx="5">
                  <c:v>0</c:v>
                </c:pt>
                <c:pt idx="6">
                  <c:v>12934.4946</c:v>
                </c:pt>
                <c:pt idx="7">
                  <c:v>0</c:v>
                </c:pt>
                <c:pt idx="8">
                  <c:v>1626.7792999999999</c:v>
                </c:pt>
                <c:pt idx="9">
                  <c:v>0</c:v>
                </c:pt>
                <c:pt idx="10">
                  <c:v>3753.9643999999998</c:v>
                </c:pt>
                <c:pt idx="11">
                  <c:v>0</c:v>
                </c:pt>
                <c:pt idx="12">
                  <c:v>34951.069499999998</c:v>
                </c:pt>
                <c:pt idx="13">
                  <c:v>0</c:v>
                </c:pt>
                <c:pt idx="14">
                  <c:v>10208.26</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AA15-4D1E-A2D3-8BCF074F1C00}"/>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AA15-4D1E-A2D3-8BCF074F1C00}"/>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pt idx="16">
                    <c:v>Total</c:v>
                  </c:pt>
                  <c:pt idx="17">
                    <c:v>Hawaiian Tropic</c:v>
                  </c:pt>
                </c:lvl>
                <c:lvl>
                  <c:pt idx="0">
                    <c:v>Sunscreen Crema</c:v>
                  </c:pt>
                  <c:pt idx="2">
                    <c:v>Sunscreen Fluido</c:v>
                  </c:pt>
                  <c:pt idx="4">
                    <c:v>Sunscreen Gel</c:v>
                  </c:pt>
                  <c:pt idx="6">
                    <c:v>Sunscreen Liquido</c:v>
                  </c:pt>
                  <c:pt idx="8">
                    <c:v>Sunscreen Aceite</c:v>
                  </c:pt>
                  <c:pt idx="10">
                    <c:v>Sunscreen Stick</c:v>
                  </c:pt>
                  <c:pt idx="12">
                    <c:v>Sunscreen Locion</c:v>
                  </c:pt>
                  <c:pt idx="14">
                    <c:v>Sunscreen Gel-Crema</c:v>
                  </c:pt>
                  <c:pt idx="16">
                    <c:v>Sunscreen Spray</c:v>
                  </c:pt>
                </c:lvl>
                <c:lvl>
                  <c:pt idx="0">
                    <c:v>Sunscreen</c:v>
                  </c:pt>
                </c:lvl>
              </c:multiLvlStrCache>
            </c:multiLvlStrRef>
          </c:cat>
          <c:val>
            <c:numRef>
              <c:f>Sheet1!$D$2:$D$19</c:f>
              <c:numCache>
                <c:formatCode>General</c:formatCode>
                <c:ptCount val="18"/>
                <c:pt idx="0">
                  <c:v>936.4</c:v>
                </c:pt>
                <c:pt idx="1">
                  <c:v>27.4</c:v>
                </c:pt>
                <c:pt idx="2">
                  <c:v>294</c:v>
                </c:pt>
                <c:pt idx="3">
                  <c:v>0</c:v>
                </c:pt>
                <c:pt idx="4">
                  <c:v>283.89999999999998</c:v>
                </c:pt>
                <c:pt idx="5">
                  <c:v>0</c:v>
                </c:pt>
                <c:pt idx="6">
                  <c:v>276.5</c:v>
                </c:pt>
                <c:pt idx="7">
                  <c:v>63.7</c:v>
                </c:pt>
                <c:pt idx="8">
                  <c:v>52.2</c:v>
                </c:pt>
                <c:pt idx="9">
                  <c:v>0</c:v>
                </c:pt>
                <c:pt idx="10">
                  <c:v>48.9</c:v>
                </c:pt>
                <c:pt idx="11">
                  <c:v>0</c:v>
                </c:pt>
                <c:pt idx="12">
                  <c:v>40</c:v>
                </c:pt>
                <c:pt idx="13">
                  <c:v>0</c:v>
                </c:pt>
                <c:pt idx="14">
                  <c:v>38.9</c:v>
                </c:pt>
                <c:pt idx="15">
                  <c:v>0</c:v>
                </c:pt>
                <c:pt idx="16">
                  <c:v>27.1</c:v>
                </c:pt>
                <c:pt idx="1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4768.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98.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698.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4428.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A15-4D1E-A2D3-8BCF074F1C00}"/>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A15-4D1E-A2D3-8BCF074F1C00}"/>
                </c:ext>
              </c:extLst>
            </c:dLbl>
            <c:dLbl>
              <c:idx val="6"/>
              <c:tx>
                <c:rich>
                  <a:bodyPr/>
                  <a:lstStyle/>
                  <a:p>
                    <a:r>
                      <a:t>1990.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A15-4D1E-A2D3-8BCF074F1C00}"/>
                </c:ext>
              </c:extLst>
            </c:dLbl>
            <c:dLbl>
              <c:idx val="7"/>
              <c:tx>
                <c:rich>
                  <a:bodyPr/>
                  <a:lstStyle/>
                  <a:p>
                    <a:r>
                      <a:t>1321.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A15-4D1E-A2D3-8BCF074F1C00}"/>
                </c:ext>
              </c:extLst>
            </c:dLbl>
            <c:dLbl>
              <c:idx val="8"/>
              <c:tx>
                <c:rich>
                  <a:bodyPr/>
                  <a:lstStyle/>
                  <a:p>
                    <a:r>
                      <a:t>4403.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A15-4D1E-A2D3-8BCF074F1C00}"/>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A15-4D1E-A2D3-8BCF074F1C00}"/>
                </c:ext>
              </c:extLst>
            </c:dLbl>
            <c:dLbl>
              <c:idx val="10"/>
              <c:tx>
                <c:rich>
                  <a:bodyPr/>
                  <a:lstStyle/>
                  <a:p>
                    <a:r>
                      <a:t>38518.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A15-4D1E-A2D3-8BCF074F1C00}"/>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A15-4D1E-A2D3-8BCF074F1C00}"/>
                </c:ext>
              </c:extLst>
            </c:dLbl>
            <c:dLbl>
              <c:idx val="12"/>
              <c:tx>
                <c:rich>
                  <a:bodyPr/>
                  <a:lstStyle/>
                  <a:p>
                    <a:r>
                      <a:t>2041.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A15-4D1E-A2D3-8BCF074F1C00}"/>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A15-4D1E-A2D3-8BCF074F1C00}"/>
                </c:ext>
              </c:extLst>
            </c:dLbl>
            <c:dLbl>
              <c:idx val="14"/>
              <c:tx>
                <c:rich>
                  <a:bodyPr/>
                  <a:lstStyle/>
                  <a:p>
                    <a:r>
                      <a:t>10908.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A15-4D1E-A2D3-8BCF074F1C00}"/>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A15-4D1E-A2D3-8BCF074F1C00}"/>
                </c:ext>
              </c:extLst>
            </c:dLbl>
            <c:dLbl>
              <c:idx val="16"/>
              <c:tx>
                <c:rich>
                  <a:bodyPr/>
                  <a:lstStyle/>
                  <a:p>
                    <a:r>
                      <a:t>3034.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A15-4D1E-A2D3-8BCF074F1C00}"/>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A15-4D1E-A2D3-8BCF074F1C0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pt idx="16">
                    <c:v>Total</c:v>
                  </c:pt>
                  <c:pt idx="17">
                    <c:v>Hawaiian Tropic</c:v>
                  </c:pt>
                </c:lvl>
                <c:lvl>
                  <c:pt idx="0">
                    <c:v>Sunscreen Crema</c:v>
                  </c:pt>
                  <c:pt idx="2">
                    <c:v>Sunscreen Fluido</c:v>
                  </c:pt>
                  <c:pt idx="4">
                    <c:v>Sunscreen Gel</c:v>
                  </c:pt>
                  <c:pt idx="6">
                    <c:v>Sunscreen Liquido</c:v>
                  </c:pt>
                  <c:pt idx="8">
                    <c:v>Sunscreen Aceite</c:v>
                  </c:pt>
                  <c:pt idx="10">
                    <c:v>Sunscreen Stick</c:v>
                  </c:pt>
                  <c:pt idx="12">
                    <c:v>Sunscreen Locion</c:v>
                  </c:pt>
                  <c:pt idx="14">
                    <c:v>Sunscreen Gel-Crema</c:v>
                  </c:pt>
                  <c:pt idx="16">
                    <c:v>Sunscreen Spray</c:v>
                  </c:pt>
                </c:lvl>
                <c:lvl>
                  <c:pt idx="0">
                    <c:v>Sunscreen</c:v>
                  </c:pt>
                </c:lvl>
              </c:multiLvlStrCache>
            </c:multiLvlStrRef>
          </c:cat>
          <c:val>
            <c:numRef>
              <c:f>Sheet1!$E$2:$E$19</c:f>
              <c:numCache>
                <c:formatCode>General</c:formatCode>
                <c:ptCount val="18"/>
                <c:pt idx="0">
                  <c:v>4768.9269000000004</c:v>
                </c:pt>
                <c:pt idx="1">
                  <c:v>1198.2664</c:v>
                </c:pt>
                <c:pt idx="2">
                  <c:v>13698.9069</c:v>
                </c:pt>
                <c:pt idx="3">
                  <c:v>0</c:v>
                </c:pt>
                <c:pt idx="4">
                  <c:v>4428.4740000000002</c:v>
                </c:pt>
                <c:pt idx="5">
                  <c:v>0</c:v>
                </c:pt>
                <c:pt idx="6">
                  <c:v>1990.7431999999999</c:v>
                </c:pt>
                <c:pt idx="7">
                  <c:v>1321.5664999999999</c:v>
                </c:pt>
                <c:pt idx="8">
                  <c:v>4403.4684999999999</c:v>
                </c:pt>
                <c:pt idx="9">
                  <c:v>0</c:v>
                </c:pt>
                <c:pt idx="10">
                  <c:v>38518.407099999997</c:v>
                </c:pt>
                <c:pt idx="11">
                  <c:v>0</c:v>
                </c:pt>
                <c:pt idx="12">
                  <c:v>2041.4597000000001</c:v>
                </c:pt>
                <c:pt idx="13">
                  <c:v>0</c:v>
                </c:pt>
                <c:pt idx="14">
                  <c:v>10908.8266</c:v>
                </c:pt>
                <c:pt idx="15">
                  <c:v>0</c:v>
                </c:pt>
                <c:pt idx="16">
                  <c:v>3034.8571000000002</c:v>
                </c:pt>
                <c:pt idx="1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B624-4950-B20F-A0E929522700}"/>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3</c:f>
              <c:multiLvlStrCache>
                <c:ptCount val="12"/>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lvl>
                <c:lvl>
                  <c:pt idx="0">
                    <c:v>Sunscreen Crema</c:v>
                  </c:pt>
                  <c:pt idx="2">
                    <c:v>Sunscreen Liquido</c:v>
                  </c:pt>
                  <c:pt idx="4">
                    <c:v>Sunscreen Gel</c:v>
                  </c:pt>
                  <c:pt idx="6">
                    <c:v>Sunscreen Locion</c:v>
                  </c:pt>
                  <c:pt idx="8">
                    <c:v>Sunscreen Spray</c:v>
                  </c:pt>
                  <c:pt idx="10">
                    <c:v>Sunscreen Fluido</c:v>
                  </c:pt>
                </c:lvl>
                <c:lvl>
                  <c:pt idx="0">
                    <c:v>Sunscreen</c:v>
                  </c:pt>
                </c:lvl>
              </c:multiLvlStrCache>
            </c:multiLvlStrRef>
          </c:cat>
          <c:val>
            <c:numRef>
              <c:f>Sheet1!$D$2:$D$13</c:f>
              <c:numCache>
                <c:formatCode>General</c:formatCode>
                <c:ptCount val="12"/>
                <c:pt idx="0">
                  <c:v>16.399999999999999</c:v>
                </c:pt>
                <c:pt idx="1">
                  <c:v>0.4</c:v>
                </c:pt>
                <c:pt idx="2">
                  <c:v>5.4</c:v>
                </c:pt>
                <c:pt idx="3">
                  <c:v>0.6</c:v>
                </c:pt>
                <c:pt idx="4">
                  <c:v>1.9</c:v>
                </c:pt>
                <c:pt idx="5">
                  <c:v>0</c:v>
                </c:pt>
                <c:pt idx="6">
                  <c:v>0.6</c:v>
                </c:pt>
                <c:pt idx="7">
                  <c:v>0</c:v>
                </c:pt>
                <c:pt idx="8">
                  <c:v>0.4</c:v>
                </c:pt>
                <c:pt idx="9">
                  <c:v>0</c:v>
                </c:pt>
                <c:pt idx="10">
                  <c:v>0.3</c:v>
                </c:pt>
                <c:pt idx="11">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80.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984.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49.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44.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844.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B624-4950-B20F-A0E929522700}"/>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B624-4950-B20F-A0E929522700}"/>
                </c:ext>
              </c:extLst>
            </c:dLbl>
            <c:dLbl>
              <c:idx val="6"/>
              <c:tx>
                <c:rich>
                  <a:bodyPr/>
                  <a:lstStyle/>
                  <a:p>
                    <a:r>
                      <a:t>1505.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B624-4950-B20F-A0E929522700}"/>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B624-4950-B20F-A0E929522700}"/>
                </c:ext>
              </c:extLst>
            </c:dLbl>
            <c:dLbl>
              <c:idx val="8"/>
              <c:tx>
                <c:rich>
                  <a:bodyPr/>
                  <a:lstStyle/>
                  <a:p>
                    <a:r>
                      <a:t>791.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B624-4950-B20F-A0E929522700}"/>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B624-4950-B20F-A0E929522700}"/>
                </c:ext>
              </c:extLst>
            </c:dLbl>
            <c:dLbl>
              <c:idx val="10"/>
              <c:tx>
                <c:rich>
                  <a:bodyPr/>
                  <a:lstStyle/>
                  <a:p>
                    <a:r>
                      <a:t>13214.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B624-4950-B20F-A0E929522700}"/>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B624-4950-B20F-A0E92952270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3</c:f>
              <c:multiLvlStrCache>
                <c:ptCount val="12"/>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lvl>
                <c:lvl>
                  <c:pt idx="0">
                    <c:v>Sunscreen Crema</c:v>
                  </c:pt>
                  <c:pt idx="2">
                    <c:v>Sunscreen Liquido</c:v>
                  </c:pt>
                  <c:pt idx="4">
                    <c:v>Sunscreen Gel</c:v>
                  </c:pt>
                  <c:pt idx="6">
                    <c:v>Sunscreen Locion</c:v>
                  </c:pt>
                  <c:pt idx="8">
                    <c:v>Sunscreen Spray</c:v>
                  </c:pt>
                  <c:pt idx="10">
                    <c:v>Sunscreen Fluido</c:v>
                  </c:pt>
                </c:lvl>
                <c:lvl>
                  <c:pt idx="0">
                    <c:v>Sunscreen</c:v>
                  </c:pt>
                </c:lvl>
              </c:multiLvlStrCache>
            </c:multiLvlStrRef>
          </c:cat>
          <c:val>
            <c:numRef>
              <c:f>Sheet1!$E$2:$E$13</c:f>
              <c:numCache>
                <c:formatCode>General</c:formatCode>
                <c:ptCount val="12"/>
                <c:pt idx="0">
                  <c:v>1280.4523999999999</c:v>
                </c:pt>
                <c:pt idx="1">
                  <c:v>984.64499999999998</c:v>
                </c:pt>
                <c:pt idx="2">
                  <c:v>1349.3814</c:v>
                </c:pt>
                <c:pt idx="3">
                  <c:v>1144.134</c:v>
                </c:pt>
                <c:pt idx="4">
                  <c:v>1844.4857999999999</c:v>
                </c:pt>
                <c:pt idx="5">
                  <c:v>0</c:v>
                </c:pt>
                <c:pt idx="6">
                  <c:v>1505.8407999999999</c:v>
                </c:pt>
                <c:pt idx="7">
                  <c:v>0</c:v>
                </c:pt>
                <c:pt idx="8">
                  <c:v>791.62879999999996</c:v>
                </c:pt>
                <c:pt idx="9">
                  <c:v>0</c:v>
                </c:pt>
                <c:pt idx="10">
                  <c:v>13214.6818</c:v>
                </c:pt>
                <c:pt idx="11">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6906-4FFC-8529-725871801C6E}"/>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3</c:f>
              <c:multiLvlStrCache>
                <c:ptCount val="12"/>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lvl>
                <c:lvl>
                  <c:pt idx="0">
                    <c:v>Sunscreen Crema</c:v>
                  </c:pt>
                  <c:pt idx="2">
                    <c:v>Sunscreen Liquido</c:v>
                  </c:pt>
                  <c:pt idx="4">
                    <c:v>Sunscreen Gel</c:v>
                  </c:pt>
                  <c:pt idx="6">
                    <c:v>Sunscreen Locion</c:v>
                  </c:pt>
                  <c:pt idx="8">
                    <c:v>Sunscreen Fluido</c:v>
                  </c:pt>
                  <c:pt idx="10">
                    <c:v>Sunscreen Aceite</c:v>
                  </c:pt>
                </c:lvl>
                <c:lvl>
                  <c:pt idx="0">
                    <c:v>Sunscreen</c:v>
                  </c:pt>
                </c:lvl>
              </c:multiLvlStrCache>
            </c:multiLvlStrRef>
          </c:cat>
          <c:val>
            <c:numRef>
              <c:f>Sheet1!$D$2:$D$13</c:f>
              <c:numCache>
                <c:formatCode>General</c:formatCode>
                <c:ptCount val="12"/>
                <c:pt idx="0">
                  <c:v>756.8</c:v>
                </c:pt>
                <c:pt idx="1">
                  <c:v>72.7</c:v>
                </c:pt>
                <c:pt idx="2">
                  <c:v>492.3</c:v>
                </c:pt>
                <c:pt idx="3">
                  <c:v>173.8</c:v>
                </c:pt>
                <c:pt idx="4">
                  <c:v>129.80000000000001</c:v>
                </c:pt>
                <c:pt idx="5">
                  <c:v>0</c:v>
                </c:pt>
                <c:pt idx="6">
                  <c:v>76.599999999999994</c:v>
                </c:pt>
                <c:pt idx="7">
                  <c:v>0</c:v>
                </c:pt>
                <c:pt idx="8">
                  <c:v>56.8</c:v>
                </c:pt>
                <c:pt idx="9">
                  <c:v>0</c:v>
                </c:pt>
                <c:pt idx="10">
                  <c:v>18.5</c:v>
                </c:pt>
                <c:pt idx="11">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36.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59.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86.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33.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742.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6906-4FFC-8529-725871801C6E}"/>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6906-4FFC-8529-725871801C6E}"/>
                </c:ext>
              </c:extLst>
            </c:dLbl>
            <c:dLbl>
              <c:idx val="6"/>
              <c:tx>
                <c:rich>
                  <a:bodyPr/>
                  <a:lstStyle/>
                  <a:p>
                    <a:r>
                      <a:t>1480.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6906-4FFC-8529-725871801C6E}"/>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6906-4FFC-8529-725871801C6E}"/>
                </c:ext>
              </c:extLst>
            </c:dLbl>
            <c:dLbl>
              <c:idx val="8"/>
              <c:tx>
                <c:rich>
                  <a:bodyPr/>
                  <a:lstStyle/>
                  <a:p>
                    <a:r>
                      <a:t>10910.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6906-4FFC-8529-725871801C6E}"/>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6906-4FFC-8529-725871801C6E}"/>
                </c:ext>
              </c:extLst>
            </c:dLbl>
            <c:dLbl>
              <c:idx val="10"/>
              <c:tx>
                <c:rich>
                  <a:bodyPr/>
                  <a:lstStyle/>
                  <a:p>
                    <a:r>
                      <a:t>2652.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6906-4FFC-8529-725871801C6E}"/>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6906-4FFC-8529-725871801C6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3</c:f>
              <c:multiLvlStrCache>
                <c:ptCount val="12"/>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lvl>
                <c:lvl>
                  <c:pt idx="0">
                    <c:v>Sunscreen Crema</c:v>
                  </c:pt>
                  <c:pt idx="2">
                    <c:v>Sunscreen Liquido</c:v>
                  </c:pt>
                  <c:pt idx="4">
                    <c:v>Sunscreen Gel</c:v>
                  </c:pt>
                  <c:pt idx="6">
                    <c:v>Sunscreen Locion</c:v>
                  </c:pt>
                  <c:pt idx="8">
                    <c:v>Sunscreen Fluido</c:v>
                  </c:pt>
                  <c:pt idx="10">
                    <c:v>Sunscreen Aceite</c:v>
                  </c:pt>
                </c:lvl>
                <c:lvl>
                  <c:pt idx="0">
                    <c:v>Sunscreen</c:v>
                  </c:pt>
                </c:lvl>
              </c:multiLvlStrCache>
            </c:multiLvlStrRef>
          </c:cat>
          <c:val>
            <c:numRef>
              <c:f>Sheet1!$E$2:$E$13</c:f>
              <c:numCache>
                <c:formatCode>General</c:formatCode>
                <c:ptCount val="12"/>
                <c:pt idx="0">
                  <c:v>1636.5192</c:v>
                </c:pt>
                <c:pt idx="1">
                  <c:v>1159.9918</c:v>
                </c:pt>
                <c:pt idx="2">
                  <c:v>1386.2406000000001</c:v>
                </c:pt>
                <c:pt idx="3">
                  <c:v>1233.4291000000001</c:v>
                </c:pt>
                <c:pt idx="4">
                  <c:v>1742.9694</c:v>
                </c:pt>
                <c:pt idx="5">
                  <c:v>0</c:v>
                </c:pt>
                <c:pt idx="6">
                  <c:v>1480.8145</c:v>
                </c:pt>
                <c:pt idx="7">
                  <c:v>0</c:v>
                </c:pt>
                <c:pt idx="8">
                  <c:v>10910.921200000001</c:v>
                </c:pt>
                <c:pt idx="9">
                  <c:v>0</c:v>
                </c:pt>
                <c:pt idx="10">
                  <c:v>2652.4679999999998</c:v>
                </c:pt>
                <c:pt idx="11">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B2CD-456B-8F07-35855A86F076}"/>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B2CD-456B-8F07-35855A86F076}"/>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lvl>
                <c:lvl>
                  <c:pt idx="0">
                    <c:v>Sunscreen Crema</c:v>
                  </c:pt>
                  <c:pt idx="2">
                    <c:v>Sunscreen Liquido</c:v>
                  </c:pt>
                  <c:pt idx="4">
                    <c:v>Sunscreen Gel</c:v>
                  </c:pt>
                  <c:pt idx="6">
                    <c:v>Sunscreen Fluido</c:v>
                  </c:pt>
                  <c:pt idx="8">
                    <c:v>Sunscreen Locion</c:v>
                  </c:pt>
                  <c:pt idx="10">
                    <c:v>Sunscreen Aceite</c:v>
                  </c:pt>
                  <c:pt idx="12">
                    <c:v>Sunscreen Stick</c:v>
                  </c:pt>
                  <c:pt idx="14">
                    <c:v>Sunscreen Gel-Crema</c:v>
                  </c:pt>
                </c:lvl>
                <c:lvl>
                  <c:pt idx="0">
                    <c:v>Sunscreen</c:v>
                  </c:pt>
                </c:lvl>
              </c:multiLvlStrCache>
            </c:multiLvlStrRef>
          </c:cat>
          <c:val>
            <c:numRef>
              <c:f>Sheet1!$D$2:$D$17</c:f>
              <c:numCache>
                <c:formatCode>General</c:formatCode>
                <c:ptCount val="16"/>
                <c:pt idx="0">
                  <c:v>1907.3</c:v>
                </c:pt>
                <c:pt idx="1">
                  <c:v>95.7</c:v>
                </c:pt>
                <c:pt idx="2">
                  <c:v>825.5</c:v>
                </c:pt>
                <c:pt idx="3">
                  <c:v>103.3</c:v>
                </c:pt>
                <c:pt idx="4">
                  <c:v>447.2</c:v>
                </c:pt>
                <c:pt idx="5">
                  <c:v>0</c:v>
                </c:pt>
                <c:pt idx="6">
                  <c:v>393.9</c:v>
                </c:pt>
                <c:pt idx="7">
                  <c:v>0.7</c:v>
                </c:pt>
                <c:pt idx="8">
                  <c:v>121.7</c:v>
                </c:pt>
                <c:pt idx="9">
                  <c:v>96.9</c:v>
                </c:pt>
                <c:pt idx="10">
                  <c:v>73.099999999999994</c:v>
                </c:pt>
                <c:pt idx="11">
                  <c:v>0</c:v>
                </c:pt>
                <c:pt idx="12">
                  <c:v>61</c:v>
                </c:pt>
                <c:pt idx="13">
                  <c:v>0</c:v>
                </c:pt>
                <c:pt idx="14">
                  <c:v>42.3</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480.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090.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533.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76.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3000.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B2CD-456B-8F07-35855A86F076}"/>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B2CD-456B-8F07-35855A86F076}"/>
                </c:ext>
              </c:extLst>
            </c:dLbl>
            <c:dLbl>
              <c:idx val="6"/>
              <c:tx>
                <c:rich>
                  <a:bodyPr/>
                  <a:lstStyle/>
                  <a:p>
                    <a:r>
                      <a:t>12486.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B2CD-456B-8F07-35855A86F076}"/>
                </c:ext>
              </c:extLst>
            </c:dLbl>
            <c:dLbl>
              <c:idx val="7"/>
              <c:tx>
                <c:rich>
                  <a:bodyPr/>
                  <a:lstStyle/>
                  <a:p>
                    <a:r>
                      <a:t>5581.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B2CD-456B-8F07-35855A86F076}"/>
                </c:ext>
              </c:extLst>
            </c:dLbl>
            <c:dLbl>
              <c:idx val="8"/>
              <c:tx>
                <c:rich>
                  <a:bodyPr/>
                  <a:lstStyle/>
                  <a:p>
                    <a:r>
                      <a:t>158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B2CD-456B-8F07-35855A86F076}"/>
                </c:ext>
              </c:extLst>
            </c:dLbl>
            <c:dLbl>
              <c:idx val="9"/>
              <c:tx>
                <c:rich>
                  <a:bodyPr/>
                  <a:lstStyle/>
                  <a:p>
                    <a:r>
                      <a:t>1443.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B2CD-456B-8F07-35855A86F076}"/>
                </c:ext>
              </c:extLst>
            </c:dLbl>
            <c:dLbl>
              <c:idx val="10"/>
              <c:tx>
                <c:rich>
                  <a:bodyPr/>
                  <a:lstStyle/>
                  <a:p>
                    <a:r>
                      <a:t>3616.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B2CD-456B-8F07-35855A86F076}"/>
                </c:ext>
              </c:extLst>
            </c:dLbl>
            <c:dLbl>
              <c:idx val="11"/>
              <c:tx>
                <c:rich>
                  <a:bodyPr/>
                  <a:lstStyle/>
                  <a:p>
                    <a:r>
                      <a:t>4352.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B2CD-456B-8F07-35855A86F076}"/>
                </c:ext>
              </c:extLst>
            </c:dLbl>
            <c:dLbl>
              <c:idx val="12"/>
              <c:tx>
                <c:rich>
                  <a:bodyPr/>
                  <a:lstStyle/>
                  <a:p>
                    <a:r>
                      <a:t>2994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B2CD-456B-8F07-35855A86F076}"/>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B2CD-456B-8F07-35855A86F076}"/>
                </c:ext>
              </c:extLst>
            </c:dLbl>
            <c:dLbl>
              <c:idx val="14"/>
              <c:tx>
                <c:rich>
                  <a:bodyPr/>
                  <a:lstStyle/>
                  <a:p>
                    <a:r>
                      <a:t>9679.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B2CD-456B-8F07-35855A86F076}"/>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B2CD-456B-8F07-35855A86F07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lvl>
                <c:lvl>
                  <c:pt idx="0">
                    <c:v>Sunscreen Crema</c:v>
                  </c:pt>
                  <c:pt idx="2">
                    <c:v>Sunscreen Liquido</c:v>
                  </c:pt>
                  <c:pt idx="4">
                    <c:v>Sunscreen Gel</c:v>
                  </c:pt>
                  <c:pt idx="6">
                    <c:v>Sunscreen Fluido</c:v>
                  </c:pt>
                  <c:pt idx="8">
                    <c:v>Sunscreen Locion</c:v>
                  </c:pt>
                  <c:pt idx="10">
                    <c:v>Sunscreen Aceite</c:v>
                  </c:pt>
                  <c:pt idx="12">
                    <c:v>Sunscreen Stick</c:v>
                  </c:pt>
                  <c:pt idx="14">
                    <c:v>Sunscreen Gel-Crema</c:v>
                  </c:pt>
                </c:lvl>
                <c:lvl>
                  <c:pt idx="0">
                    <c:v>Sunscreen</c:v>
                  </c:pt>
                </c:lvl>
              </c:multiLvlStrCache>
            </c:multiLvlStrRef>
          </c:cat>
          <c:val>
            <c:numRef>
              <c:f>Sheet1!$E$2:$E$17</c:f>
              <c:numCache>
                <c:formatCode>General</c:formatCode>
                <c:ptCount val="16"/>
                <c:pt idx="0">
                  <c:v>2480.8530999999998</c:v>
                </c:pt>
                <c:pt idx="1">
                  <c:v>1090.9659999999999</c:v>
                </c:pt>
                <c:pt idx="2">
                  <c:v>1533.6077</c:v>
                </c:pt>
                <c:pt idx="3">
                  <c:v>1276.7673</c:v>
                </c:pt>
                <c:pt idx="4">
                  <c:v>3000.1498000000001</c:v>
                </c:pt>
                <c:pt idx="5">
                  <c:v>0</c:v>
                </c:pt>
                <c:pt idx="6">
                  <c:v>12486.0093</c:v>
                </c:pt>
                <c:pt idx="7">
                  <c:v>5581.5780999999997</c:v>
                </c:pt>
                <c:pt idx="8">
                  <c:v>1589.2047</c:v>
                </c:pt>
                <c:pt idx="9">
                  <c:v>1443.2366999999999</c:v>
                </c:pt>
                <c:pt idx="10">
                  <c:v>3616.8251</c:v>
                </c:pt>
                <c:pt idx="11">
                  <c:v>4352</c:v>
                </c:pt>
                <c:pt idx="12">
                  <c:v>29942.361799999999</c:v>
                </c:pt>
                <c:pt idx="13">
                  <c:v>0</c:v>
                </c:pt>
                <c:pt idx="14">
                  <c:v>9679.4454999999998</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D644-49EB-BEF2-0C04AF170980}"/>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D644-49EB-BEF2-0C04AF170980}"/>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lvl>
                <c:lvl>
                  <c:pt idx="0">
                    <c:v>Sunscreen Crema</c:v>
                  </c:pt>
                  <c:pt idx="2">
                    <c:v>Sunscreen Liquido</c:v>
                  </c:pt>
                  <c:pt idx="4">
                    <c:v>Sunscreen Gel</c:v>
                  </c:pt>
                  <c:pt idx="6">
                    <c:v>Sunscreen Fluido</c:v>
                  </c:pt>
                  <c:pt idx="8">
                    <c:v>Sunscreen Locion</c:v>
                  </c:pt>
                  <c:pt idx="10">
                    <c:v>Sunscreen Aceite</c:v>
                  </c:pt>
                  <c:pt idx="12">
                    <c:v>Sunscreen Stick</c:v>
                  </c:pt>
                  <c:pt idx="14">
                    <c:v>Sunscreen Gel-Crema</c:v>
                  </c:pt>
                </c:lvl>
                <c:lvl>
                  <c:pt idx="0">
                    <c:v>Sunscreen</c:v>
                  </c:pt>
                </c:lvl>
              </c:multiLvlStrCache>
            </c:multiLvlStrRef>
          </c:cat>
          <c:val>
            <c:numRef>
              <c:f>Sheet1!$D$2:$D$17</c:f>
              <c:numCache>
                <c:formatCode>General</c:formatCode>
                <c:ptCount val="16"/>
                <c:pt idx="0">
                  <c:v>1694.9</c:v>
                </c:pt>
                <c:pt idx="1">
                  <c:v>90</c:v>
                </c:pt>
                <c:pt idx="2">
                  <c:v>770.8</c:v>
                </c:pt>
                <c:pt idx="3">
                  <c:v>99.4</c:v>
                </c:pt>
                <c:pt idx="4">
                  <c:v>413.8</c:v>
                </c:pt>
                <c:pt idx="5">
                  <c:v>0</c:v>
                </c:pt>
                <c:pt idx="6">
                  <c:v>350.8</c:v>
                </c:pt>
                <c:pt idx="7">
                  <c:v>0.7</c:v>
                </c:pt>
                <c:pt idx="8">
                  <c:v>116.7</c:v>
                </c:pt>
                <c:pt idx="9">
                  <c:v>92.7</c:v>
                </c:pt>
                <c:pt idx="10">
                  <c:v>70.8</c:v>
                </c:pt>
                <c:pt idx="11">
                  <c:v>0</c:v>
                </c:pt>
                <c:pt idx="12">
                  <c:v>59.3</c:v>
                </c:pt>
                <c:pt idx="13">
                  <c:v>0</c:v>
                </c:pt>
                <c:pt idx="14">
                  <c:v>41.7</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56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07.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552.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96.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2980.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D644-49EB-BEF2-0C04AF170980}"/>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D644-49EB-BEF2-0C04AF170980}"/>
                </c:ext>
              </c:extLst>
            </c:dLbl>
            <c:dLbl>
              <c:idx val="6"/>
              <c:tx>
                <c:rich>
                  <a:bodyPr/>
                  <a:lstStyle/>
                  <a:p>
                    <a:r>
                      <a:t>12934.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D644-49EB-BEF2-0C04AF170980}"/>
                </c:ext>
              </c:extLst>
            </c:dLbl>
            <c:dLbl>
              <c:idx val="7"/>
              <c:tx>
                <c:rich>
                  <a:bodyPr/>
                  <a:lstStyle/>
                  <a:p>
                    <a:r>
                      <a:t>5904.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D644-49EB-BEF2-0C04AF170980}"/>
                </c:ext>
              </c:extLst>
            </c:dLbl>
            <c:dLbl>
              <c:idx val="8"/>
              <c:tx>
                <c:rich>
                  <a:bodyPr/>
                  <a:lstStyle/>
                  <a:p>
                    <a:r>
                      <a:t>1626.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D644-49EB-BEF2-0C04AF170980}"/>
                </c:ext>
              </c:extLst>
            </c:dLbl>
            <c:dLbl>
              <c:idx val="9"/>
              <c:tx>
                <c:rich>
                  <a:bodyPr/>
                  <a:lstStyle/>
                  <a:p>
                    <a:r>
                      <a:t>1459.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D644-49EB-BEF2-0C04AF170980}"/>
                </c:ext>
              </c:extLst>
            </c:dLbl>
            <c:dLbl>
              <c:idx val="10"/>
              <c:tx>
                <c:rich>
                  <a:bodyPr/>
                  <a:lstStyle/>
                  <a:p>
                    <a:r>
                      <a:t>3753.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D644-49EB-BEF2-0C04AF170980}"/>
                </c:ext>
              </c:extLst>
            </c:dLbl>
            <c:dLbl>
              <c:idx val="11"/>
              <c:tx>
                <c:rich>
                  <a:bodyPr/>
                  <a:lstStyle/>
                  <a:p>
                    <a:r>
                      <a:t>4352.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D644-49EB-BEF2-0C04AF170980}"/>
                </c:ext>
              </c:extLst>
            </c:dLbl>
            <c:dLbl>
              <c:idx val="12"/>
              <c:tx>
                <c:rich>
                  <a:bodyPr/>
                  <a:lstStyle/>
                  <a:p>
                    <a:r>
                      <a:t>34951.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D644-49EB-BEF2-0C04AF170980}"/>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D644-49EB-BEF2-0C04AF170980}"/>
                </c:ext>
              </c:extLst>
            </c:dLbl>
            <c:dLbl>
              <c:idx val="14"/>
              <c:tx>
                <c:rich>
                  <a:bodyPr/>
                  <a:lstStyle/>
                  <a:p>
                    <a:r>
                      <a:t>10208.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D644-49EB-BEF2-0C04AF170980}"/>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D644-49EB-BEF2-0C04AF17098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lvl>
                <c:lvl>
                  <c:pt idx="0">
                    <c:v>Sunscreen Crema</c:v>
                  </c:pt>
                  <c:pt idx="2">
                    <c:v>Sunscreen Liquido</c:v>
                  </c:pt>
                  <c:pt idx="4">
                    <c:v>Sunscreen Gel</c:v>
                  </c:pt>
                  <c:pt idx="6">
                    <c:v>Sunscreen Fluido</c:v>
                  </c:pt>
                  <c:pt idx="8">
                    <c:v>Sunscreen Locion</c:v>
                  </c:pt>
                  <c:pt idx="10">
                    <c:v>Sunscreen Aceite</c:v>
                  </c:pt>
                  <c:pt idx="12">
                    <c:v>Sunscreen Stick</c:v>
                  </c:pt>
                  <c:pt idx="14">
                    <c:v>Sunscreen Gel-Crema</c:v>
                  </c:pt>
                </c:lvl>
                <c:lvl>
                  <c:pt idx="0">
                    <c:v>Sunscreen</c:v>
                  </c:pt>
                </c:lvl>
              </c:multiLvlStrCache>
            </c:multiLvlStrRef>
          </c:cat>
          <c:val>
            <c:numRef>
              <c:f>Sheet1!$E$2:$E$17</c:f>
              <c:numCache>
                <c:formatCode>General</c:formatCode>
                <c:ptCount val="16"/>
                <c:pt idx="0">
                  <c:v>2560.0007000000001</c:v>
                </c:pt>
                <c:pt idx="1">
                  <c:v>1107.3108</c:v>
                </c:pt>
                <c:pt idx="2">
                  <c:v>1552.5425</c:v>
                </c:pt>
                <c:pt idx="3">
                  <c:v>1296.1889000000001</c:v>
                </c:pt>
                <c:pt idx="4">
                  <c:v>2980.4443000000001</c:v>
                </c:pt>
                <c:pt idx="5">
                  <c:v>0</c:v>
                </c:pt>
                <c:pt idx="6">
                  <c:v>12934.4946</c:v>
                </c:pt>
                <c:pt idx="7">
                  <c:v>5904.0496000000003</c:v>
                </c:pt>
                <c:pt idx="8">
                  <c:v>1626.7792999999999</c:v>
                </c:pt>
                <c:pt idx="9">
                  <c:v>1459.6442</c:v>
                </c:pt>
                <c:pt idx="10">
                  <c:v>3753.9643999999998</c:v>
                </c:pt>
                <c:pt idx="11">
                  <c:v>4352</c:v>
                </c:pt>
                <c:pt idx="12">
                  <c:v>34951.069499999998</c:v>
                </c:pt>
                <c:pt idx="13">
                  <c:v>0</c:v>
                </c:pt>
                <c:pt idx="14">
                  <c:v>10208.26</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5E05-445D-9D09-AD0B1D48E4D0}"/>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5E05-445D-9D09-AD0B1D48E4D0}"/>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pt idx="16">
                    <c:v>Total</c:v>
                  </c:pt>
                  <c:pt idx="17">
                    <c:v>Banana Boat</c:v>
                  </c:pt>
                </c:lvl>
                <c:lvl>
                  <c:pt idx="0">
                    <c:v>Sunscreen Crema</c:v>
                  </c:pt>
                  <c:pt idx="2">
                    <c:v>Sunscreen Fluido</c:v>
                  </c:pt>
                  <c:pt idx="4">
                    <c:v>Sunscreen Gel</c:v>
                  </c:pt>
                  <c:pt idx="6">
                    <c:v>Sunscreen Liquido</c:v>
                  </c:pt>
                  <c:pt idx="8">
                    <c:v>Sunscreen Aceite</c:v>
                  </c:pt>
                  <c:pt idx="10">
                    <c:v>Sunscreen Stick</c:v>
                  </c:pt>
                  <c:pt idx="12">
                    <c:v>Sunscreen Locion</c:v>
                  </c:pt>
                  <c:pt idx="14">
                    <c:v>Sunscreen Gel-Crema</c:v>
                  </c:pt>
                  <c:pt idx="16">
                    <c:v>Sunscreen Spray</c:v>
                  </c:pt>
                </c:lvl>
                <c:lvl>
                  <c:pt idx="0">
                    <c:v>Sunscreen</c:v>
                  </c:pt>
                </c:lvl>
              </c:multiLvlStrCache>
            </c:multiLvlStrRef>
          </c:cat>
          <c:val>
            <c:numRef>
              <c:f>Sheet1!$D$2:$D$19</c:f>
              <c:numCache>
                <c:formatCode>General</c:formatCode>
                <c:ptCount val="18"/>
                <c:pt idx="0">
                  <c:v>936.4</c:v>
                </c:pt>
                <c:pt idx="1">
                  <c:v>23.6</c:v>
                </c:pt>
                <c:pt idx="2">
                  <c:v>294</c:v>
                </c:pt>
                <c:pt idx="3">
                  <c:v>0</c:v>
                </c:pt>
                <c:pt idx="4">
                  <c:v>283.89999999999998</c:v>
                </c:pt>
                <c:pt idx="5">
                  <c:v>0</c:v>
                </c:pt>
                <c:pt idx="6">
                  <c:v>276.5</c:v>
                </c:pt>
                <c:pt idx="7">
                  <c:v>35.299999999999997</c:v>
                </c:pt>
                <c:pt idx="8">
                  <c:v>52.2</c:v>
                </c:pt>
                <c:pt idx="9">
                  <c:v>0</c:v>
                </c:pt>
                <c:pt idx="10">
                  <c:v>48.9</c:v>
                </c:pt>
                <c:pt idx="11">
                  <c:v>0</c:v>
                </c:pt>
                <c:pt idx="12">
                  <c:v>40</c:v>
                </c:pt>
                <c:pt idx="13">
                  <c:v>24.3</c:v>
                </c:pt>
                <c:pt idx="14">
                  <c:v>38.9</c:v>
                </c:pt>
                <c:pt idx="15">
                  <c:v>0</c:v>
                </c:pt>
                <c:pt idx="16">
                  <c:v>27.1</c:v>
                </c:pt>
                <c:pt idx="1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4768.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82.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698.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4428.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5E05-445D-9D09-AD0B1D48E4D0}"/>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5E05-445D-9D09-AD0B1D48E4D0}"/>
                </c:ext>
              </c:extLst>
            </c:dLbl>
            <c:dLbl>
              <c:idx val="6"/>
              <c:tx>
                <c:rich>
                  <a:bodyPr/>
                  <a:lstStyle/>
                  <a:p>
                    <a:r>
                      <a:t>1990.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5E05-445D-9D09-AD0B1D48E4D0}"/>
                </c:ext>
              </c:extLst>
            </c:dLbl>
            <c:dLbl>
              <c:idx val="7"/>
              <c:tx>
                <c:rich>
                  <a:bodyPr/>
                  <a:lstStyle/>
                  <a:p>
                    <a:r>
                      <a:t>1399.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5E05-445D-9D09-AD0B1D48E4D0}"/>
                </c:ext>
              </c:extLst>
            </c:dLbl>
            <c:dLbl>
              <c:idx val="8"/>
              <c:tx>
                <c:rich>
                  <a:bodyPr/>
                  <a:lstStyle/>
                  <a:p>
                    <a:r>
                      <a:t>4403.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5E05-445D-9D09-AD0B1D48E4D0}"/>
                </c:ext>
              </c:extLst>
            </c:dLbl>
            <c:dLbl>
              <c:idx val="9"/>
              <c:tx>
                <c:rich>
                  <a:bodyPr/>
                  <a:lstStyle/>
                  <a:p>
                    <a:r>
                      <a:t>4352.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5E05-445D-9D09-AD0B1D48E4D0}"/>
                </c:ext>
              </c:extLst>
            </c:dLbl>
            <c:dLbl>
              <c:idx val="10"/>
              <c:tx>
                <c:rich>
                  <a:bodyPr/>
                  <a:lstStyle/>
                  <a:p>
                    <a:r>
                      <a:t>38518.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5E05-445D-9D09-AD0B1D48E4D0}"/>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5E05-445D-9D09-AD0B1D48E4D0}"/>
                </c:ext>
              </c:extLst>
            </c:dLbl>
            <c:dLbl>
              <c:idx val="12"/>
              <c:tx>
                <c:rich>
                  <a:bodyPr/>
                  <a:lstStyle/>
                  <a:p>
                    <a:r>
                      <a:t>2041.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5E05-445D-9D09-AD0B1D48E4D0}"/>
                </c:ext>
              </c:extLst>
            </c:dLbl>
            <c:dLbl>
              <c:idx val="13"/>
              <c:tx>
                <c:rich>
                  <a:bodyPr/>
                  <a:lstStyle/>
                  <a:p>
                    <a:r>
                      <a:t>1660.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5E05-445D-9D09-AD0B1D48E4D0}"/>
                </c:ext>
              </c:extLst>
            </c:dLbl>
            <c:dLbl>
              <c:idx val="14"/>
              <c:tx>
                <c:rich>
                  <a:bodyPr/>
                  <a:lstStyle/>
                  <a:p>
                    <a:r>
                      <a:t>10908.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5E05-445D-9D09-AD0B1D48E4D0}"/>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5E05-445D-9D09-AD0B1D48E4D0}"/>
                </c:ext>
              </c:extLst>
            </c:dLbl>
            <c:dLbl>
              <c:idx val="16"/>
              <c:tx>
                <c:rich>
                  <a:bodyPr/>
                  <a:lstStyle/>
                  <a:p>
                    <a:r>
                      <a:t>3034.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5E05-445D-9D09-AD0B1D48E4D0}"/>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5E05-445D-9D09-AD0B1D48E4D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pt idx="16">
                    <c:v>Total</c:v>
                  </c:pt>
                  <c:pt idx="17">
                    <c:v>Banana Boat</c:v>
                  </c:pt>
                </c:lvl>
                <c:lvl>
                  <c:pt idx="0">
                    <c:v>Sunscreen Crema</c:v>
                  </c:pt>
                  <c:pt idx="2">
                    <c:v>Sunscreen Fluido</c:v>
                  </c:pt>
                  <c:pt idx="4">
                    <c:v>Sunscreen Gel</c:v>
                  </c:pt>
                  <c:pt idx="6">
                    <c:v>Sunscreen Liquido</c:v>
                  </c:pt>
                  <c:pt idx="8">
                    <c:v>Sunscreen Aceite</c:v>
                  </c:pt>
                  <c:pt idx="10">
                    <c:v>Sunscreen Stick</c:v>
                  </c:pt>
                  <c:pt idx="12">
                    <c:v>Sunscreen Locion</c:v>
                  </c:pt>
                  <c:pt idx="14">
                    <c:v>Sunscreen Gel-Crema</c:v>
                  </c:pt>
                  <c:pt idx="16">
                    <c:v>Sunscreen Spray</c:v>
                  </c:pt>
                </c:lvl>
                <c:lvl>
                  <c:pt idx="0">
                    <c:v>Sunscreen</c:v>
                  </c:pt>
                </c:lvl>
              </c:multiLvlStrCache>
            </c:multiLvlStrRef>
          </c:cat>
          <c:val>
            <c:numRef>
              <c:f>Sheet1!$E$2:$E$19</c:f>
              <c:numCache>
                <c:formatCode>General</c:formatCode>
                <c:ptCount val="18"/>
                <c:pt idx="0">
                  <c:v>4768.9269000000004</c:v>
                </c:pt>
                <c:pt idx="1">
                  <c:v>1282.7746</c:v>
                </c:pt>
                <c:pt idx="2">
                  <c:v>13698.9069</c:v>
                </c:pt>
                <c:pt idx="3">
                  <c:v>0</c:v>
                </c:pt>
                <c:pt idx="4">
                  <c:v>4428.4740000000002</c:v>
                </c:pt>
                <c:pt idx="5">
                  <c:v>0</c:v>
                </c:pt>
                <c:pt idx="6">
                  <c:v>1990.7431999999999</c:v>
                </c:pt>
                <c:pt idx="7">
                  <c:v>1399.6856</c:v>
                </c:pt>
                <c:pt idx="8">
                  <c:v>4403.4684999999999</c:v>
                </c:pt>
                <c:pt idx="9">
                  <c:v>4352</c:v>
                </c:pt>
                <c:pt idx="10">
                  <c:v>38518.407099999997</c:v>
                </c:pt>
                <c:pt idx="11">
                  <c:v>0</c:v>
                </c:pt>
                <c:pt idx="12">
                  <c:v>2041.4597000000001</c:v>
                </c:pt>
                <c:pt idx="13">
                  <c:v>1660.8920000000001</c:v>
                </c:pt>
                <c:pt idx="14">
                  <c:v>10908.8266</c:v>
                </c:pt>
                <c:pt idx="15">
                  <c:v>0</c:v>
                </c:pt>
                <c:pt idx="16">
                  <c:v>3034.8571000000002</c:v>
                </c:pt>
                <c:pt idx="1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21F9-449E-B092-EE45E934692C}"/>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3</c:f>
              <c:multiLvlStrCache>
                <c:ptCount val="12"/>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lvl>
                <c:lvl>
                  <c:pt idx="0">
                    <c:v>Sunscreen Crema</c:v>
                  </c:pt>
                  <c:pt idx="2">
                    <c:v>Sunscreen Liquido</c:v>
                  </c:pt>
                  <c:pt idx="4">
                    <c:v>Sunscreen Gel</c:v>
                  </c:pt>
                  <c:pt idx="6">
                    <c:v>Sunscreen Locion</c:v>
                  </c:pt>
                  <c:pt idx="8">
                    <c:v>Sunscreen Spray</c:v>
                  </c:pt>
                  <c:pt idx="10">
                    <c:v>Sunscreen Fluido</c:v>
                  </c:pt>
                </c:lvl>
                <c:lvl>
                  <c:pt idx="0">
                    <c:v>Sunscreen</c:v>
                  </c:pt>
                </c:lvl>
              </c:multiLvlStrCache>
            </c:multiLvlStrRef>
          </c:cat>
          <c:val>
            <c:numRef>
              <c:f>Sheet1!$D$2:$D$13</c:f>
              <c:numCache>
                <c:formatCode>General</c:formatCode>
                <c:ptCount val="12"/>
                <c:pt idx="0">
                  <c:v>16.399999999999999</c:v>
                </c:pt>
                <c:pt idx="1">
                  <c:v>1.2</c:v>
                </c:pt>
                <c:pt idx="2">
                  <c:v>5.4</c:v>
                </c:pt>
                <c:pt idx="3">
                  <c:v>0.4</c:v>
                </c:pt>
                <c:pt idx="4">
                  <c:v>1.9</c:v>
                </c:pt>
                <c:pt idx="5">
                  <c:v>0</c:v>
                </c:pt>
                <c:pt idx="6">
                  <c:v>0.6</c:v>
                </c:pt>
                <c:pt idx="7">
                  <c:v>0.5</c:v>
                </c:pt>
                <c:pt idx="8">
                  <c:v>0.4</c:v>
                </c:pt>
                <c:pt idx="9">
                  <c:v>0</c:v>
                </c:pt>
                <c:pt idx="10">
                  <c:v>0.3</c:v>
                </c:pt>
                <c:pt idx="11">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80.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037.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49.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6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844.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21F9-449E-B092-EE45E934692C}"/>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21F9-449E-B092-EE45E934692C}"/>
                </c:ext>
              </c:extLst>
            </c:dLbl>
            <c:dLbl>
              <c:idx val="6"/>
              <c:tx>
                <c:rich>
                  <a:bodyPr/>
                  <a:lstStyle/>
                  <a:p>
                    <a:r>
                      <a:t>1505.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21F9-449E-B092-EE45E934692C}"/>
                </c:ext>
              </c:extLst>
            </c:dLbl>
            <c:dLbl>
              <c:idx val="7"/>
              <c:tx>
                <c:rich>
                  <a:bodyPr/>
                  <a:lstStyle/>
                  <a:p>
                    <a:r>
                      <a:t>1632.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21F9-449E-B092-EE45E934692C}"/>
                </c:ext>
              </c:extLst>
            </c:dLbl>
            <c:dLbl>
              <c:idx val="8"/>
              <c:tx>
                <c:rich>
                  <a:bodyPr/>
                  <a:lstStyle/>
                  <a:p>
                    <a:r>
                      <a:t>791.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21F9-449E-B092-EE45E934692C}"/>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21F9-449E-B092-EE45E934692C}"/>
                </c:ext>
              </c:extLst>
            </c:dLbl>
            <c:dLbl>
              <c:idx val="10"/>
              <c:tx>
                <c:rich>
                  <a:bodyPr/>
                  <a:lstStyle/>
                  <a:p>
                    <a:r>
                      <a:t>13214.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21F9-449E-B092-EE45E934692C}"/>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21F9-449E-B092-EE45E934692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3</c:f>
              <c:multiLvlStrCache>
                <c:ptCount val="12"/>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lvl>
                <c:lvl>
                  <c:pt idx="0">
                    <c:v>Sunscreen Crema</c:v>
                  </c:pt>
                  <c:pt idx="2">
                    <c:v>Sunscreen Liquido</c:v>
                  </c:pt>
                  <c:pt idx="4">
                    <c:v>Sunscreen Gel</c:v>
                  </c:pt>
                  <c:pt idx="6">
                    <c:v>Sunscreen Locion</c:v>
                  </c:pt>
                  <c:pt idx="8">
                    <c:v>Sunscreen Spray</c:v>
                  </c:pt>
                  <c:pt idx="10">
                    <c:v>Sunscreen Fluido</c:v>
                  </c:pt>
                </c:lvl>
                <c:lvl>
                  <c:pt idx="0">
                    <c:v>Sunscreen</c:v>
                  </c:pt>
                </c:lvl>
              </c:multiLvlStrCache>
            </c:multiLvlStrRef>
          </c:cat>
          <c:val>
            <c:numRef>
              <c:f>Sheet1!$E$2:$E$13</c:f>
              <c:numCache>
                <c:formatCode>General</c:formatCode>
                <c:ptCount val="12"/>
                <c:pt idx="0">
                  <c:v>1280.4523999999999</c:v>
                </c:pt>
                <c:pt idx="1">
                  <c:v>1037.8896999999999</c:v>
                </c:pt>
                <c:pt idx="2">
                  <c:v>1349.3814</c:v>
                </c:pt>
                <c:pt idx="3">
                  <c:v>1264.0986</c:v>
                </c:pt>
                <c:pt idx="4">
                  <c:v>1844.4857999999999</c:v>
                </c:pt>
                <c:pt idx="5">
                  <c:v>0</c:v>
                </c:pt>
                <c:pt idx="6">
                  <c:v>1505.8407999999999</c:v>
                </c:pt>
                <c:pt idx="7">
                  <c:v>1632.9874</c:v>
                </c:pt>
                <c:pt idx="8">
                  <c:v>791.62879999999996</c:v>
                </c:pt>
                <c:pt idx="9">
                  <c:v>0</c:v>
                </c:pt>
                <c:pt idx="10">
                  <c:v>13214.6818</c:v>
                </c:pt>
                <c:pt idx="11">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1FF7-4F3F-BE4A-1B77E6B1C190}"/>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3</c:f>
              <c:multiLvlStrCache>
                <c:ptCount val="12"/>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lvl>
                <c:lvl>
                  <c:pt idx="0">
                    <c:v>Sunscreen Crema</c:v>
                  </c:pt>
                  <c:pt idx="2">
                    <c:v>Sunscreen Liquido</c:v>
                  </c:pt>
                  <c:pt idx="4">
                    <c:v>Sunscreen Gel</c:v>
                  </c:pt>
                  <c:pt idx="6">
                    <c:v>Sunscreen Locion</c:v>
                  </c:pt>
                  <c:pt idx="8">
                    <c:v>Sunscreen Fluido</c:v>
                  </c:pt>
                  <c:pt idx="10">
                    <c:v>Sunscreen Aceite</c:v>
                  </c:pt>
                </c:lvl>
                <c:lvl>
                  <c:pt idx="0">
                    <c:v>Sunscreen</c:v>
                  </c:pt>
                </c:lvl>
              </c:multiLvlStrCache>
            </c:multiLvlStrRef>
          </c:cat>
          <c:val>
            <c:numRef>
              <c:f>Sheet1!$D$2:$D$13</c:f>
              <c:numCache>
                <c:formatCode>General</c:formatCode>
                <c:ptCount val="12"/>
                <c:pt idx="0">
                  <c:v>756.8</c:v>
                </c:pt>
                <c:pt idx="1">
                  <c:v>66.3</c:v>
                </c:pt>
                <c:pt idx="2">
                  <c:v>492.3</c:v>
                </c:pt>
                <c:pt idx="3">
                  <c:v>64</c:v>
                </c:pt>
                <c:pt idx="4">
                  <c:v>129.80000000000001</c:v>
                </c:pt>
                <c:pt idx="5">
                  <c:v>0</c:v>
                </c:pt>
                <c:pt idx="6">
                  <c:v>76.599999999999994</c:v>
                </c:pt>
                <c:pt idx="7">
                  <c:v>68.3</c:v>
                </c:pt>
                <c:pt idx="8">
                  <c:v>56.8</c:v>
                </c:pt>
                <c:pt idx="9">
                  <c:v>0.7</c:v>
                </c:pt>
                <c:pt idx="10">
                  <c:v>18.5</c:v>
                </c:pt>
                <c:pt idx="11">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36.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058.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86.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49.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742.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FF7-4F3F-BE4A-1B77E6B1C190}"/>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FF7-4F3F-BE4A-1B77E6B1C190}"/>
                </c:ext>
              </c:extLst>
            </c:dLbl>
            <c:dLbl>
              <c:idx val="6"/>
              <c:tx>
                <c:rich>
                  <a:bodyPr/>
                  <a:lstStyle/>
                  <a:p>
                    <a:r>
                      <a:t>1480.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FF7-4F3F-BE4A-1B77E6B1C190}"/>
                </c:ext>
              </c:extLst>
            </c:dLbl>
            <c:dLbl>
              <c:idx val="7"/>
              <c:tx>
                <c:rich>
                  <a:bodyPr/>
                  <a:lstStyle/>
                  <a:p>
                    <a:r>
                      <a:t>1403.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FF7-4F3F-BE4A-1B77E6B1C190}"/>
                </c:ext>
              </c:extLst>
            </c:dLbl>
            <c:dLbl>
              <c:idx val="8"/>
              <c:tx>
                <c:rich>
                  <a:bodyPr/>
                  <a:lstStyle/>
                  <a:p>
                    <a:r>
                      <a:t>10910.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FF7-4F3F-BE4A-1B77E6B1C190}"/>
                </c:ext>
              </c:extLst>
            </c:dLbl>
            <c:dLbl>
              <c:idx val="9"/>
              <c:tx>
                <c:rich>
                  <a:bodyPr/>
                  <a:lstStyle/>
                  <a:p>
                    <a:r>
                      <a:t>563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FF7-4F3F-BE4A-1B77E6B1C190}"/>
                </c:ext>
              </c:extLst>
            </c:dLbl>
            <c:dLbl>
              <c:idx val="10"/>
              <c:tx>
                <c:rich>
                  <a:bodyPr/>
                  <a:lstStyle/>
                  <a:p>
                    <a:r>
                      <a:t>2652.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FF7-4F3F-BE4A-1B77E6B1C190}"/>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FF7-4F3F-BE4A-1B77E6B1C19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3</c:f>
              <c:multiLvlStrCache>
                <c:ptCount val="12"/>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lvl>
                <c:lvl>
                  <c:pt idx="0">
                    <c:v>Sunscreen Crema</c:v>
                  </c:pt>
                  <c:pt idx="2">
                    <c:v>Sunscreen Liquido</c:v>
                  </c:pt>
                  <c:pt idx="4">
                    <c:v>Sunscreen Gel</c:v>
                  </c:pt>
                  <c:pt idx="6">
                    <c:v>Sunscreen Locion</c:v>
                  </c:pt>
                  <c:pt idx="8">
                    <c:v>Sunscreen Fluido</c:v>
                  </c:pt>
                  <c:pt idx="10">
                    <c:v>Sunscreen Aceite</c:v>
                  </c:pt>
                </c:lvl>
                <c:lvl>
                  <c:pt idx="0">
                    <c:v>Sunscreen</c:v>
                  </c:pt>
                </c:lvl>
              </c:multiLvlStrCache>
            </c:multiLvlStrRef>
          </c:cat>
          <c:val>
            <c:numRef>
              <c:f>Sheet1!$E$2:$E$13</c:f>
              <c:numCache>
                <c:formatCode>General</c:formatCode>
                <c:ptCount val="12"/>
                <c:pt idx="0">
                  <c:v>1636.5192</c:v>
                </c:pt>
                <c:pt idx="1">
                  <c:v>1058.2494999999999</c:v>
                </c:pt>
                <c:pt idx="2">
                  <c:v>1386.2406000000001</c:v>
                </c:pt>
                <c:pt idx="3">
                  <c:v>1249.3906999999999</c:v>
                </c:pt>
                <c:pt idx="4">
                  <c:v>1742.9694</c:v>
                </c:pt>
                <c:pt idx="5">
                  <c:v>0</c:v>
                </c:pt>
                <c:pt idx="6">
                  <c:v>1480.8145</c:v>
                </c:pt>
                <c:pt idx="7">
                  <c:v>1403.1635000000001</c:v>
                </c:pt>
                <c:pt idx="8">
                  <c:v>10910.921200000001</c:v>
                </c:pt>
                <c:pt idx="9">
                  <c:v>5633.8</c:v>
                </c:pt>
                <c:pt idx="10">
                  <c:v>2652.4679999999998</c:v>
                </c:pt>
                <c:pt idx="11">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7437-423E-9DAB-9389FAF5ADA3}"/>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7437-423E-9DAB-9389FAF5ADA3}"/>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lvl>
                <c:lvl>
                  <c:pt idx="0">
                    <c:v>Sunscreen Crema</c:v>
                  </c:pt>
                  <c:pt idx="2">
                    <c:v>Sunscreen Liquido</c:v>
                  </c:pt>
                  <c:pt idx="4">
                    <c:v>Sunscreen Gel</c:v>
                  </c:pt>
                  <c:pt idx="6">
                    <c:v>Sunscreen Fluido</c:v>
                  </c:pt>
                  <c:pt idx="8">
                    <c:v>Sunscreen Locion</c:v>
                  </c:pt>
                  <c:pt idx="10">
                    <c:v>Sunscreen Aceite</c:v>
                  </c:pt>
                  <c:pt idx="12">
                    <c:v>Sunscreen Stick</c:v>
                  </c:pt>
                  <c:pt idx="14">
                    <c:v>Sunscreen Gel-Crema</c:v>
                  </c:pt>
                </c:lvl>
                <c:lvl>
                  <c:pt idx="0">
                    <c:v>Sunscreen</c:v>
                  </c:pt>
                </c:lvl>
              </c:multiLvlStrCache>
            </c:multiLvlStrRef>
          </c:cat>
          <c:val>
            <c:numRef>
              <c:f>Sheet1!$D$2:$D$17</c:f>
              <c:numCache>
                <c:formatCode>General</c:formatCode>
                <c:ptCount val="16"/>
                <c:pt idx="0">
                  <c:v>1907.3</c:v>
                </c:pt>
                <c:pt idx="1">
                  <c:v>0</c:v>
                </c:pt>
                <c:pt idx="2">
                  <c:v>825.5</c:v>
                </c:pt>
                <c:pt idx="3">
                  <c:v>13.1</c:v>
                </c:pt>
                <c:pt idx="4">
                  <c:v>447.2</c:v>
                </c:pt>
                <c:pt idx="5">
                  <c:v>0</c:v>
                </c:pt>
                <c:pt idx="6">
                  <c:v>393.9</c:v>
                </c:pt>
                <c:pt idx="7">
                  <c:v>0</c:v>
                </c:pt>
                <c:pt idx="8">
                  <c:v>121.7</c:v>
                </c:pt>
                <c:pt idx="9">
                  <c:v>0</c:v>
                </c:pt>
                <c:pt idx="10">
                  <c:v>73.099999999999994</c:v>
                </c:pt>
                <c:pt idx="11">
                  <c:v>0</c:v>
                </c:pt>
                <c:pt idx="12">
                  <c:v>61</c:v>
                </c:pt>
                <c:pt idx="13">
                  <c:v>0</c:v>
                </c:pt>
                <c:pt idx="14">
                  <c:v>42.3</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480.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533.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392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3000.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437-423E-9DAB-9389FAF5ADA3}"/>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437-423E-9DAB-9389FAF5ADA3}"/>
                </c:ext>
              </c:extLst>
            </c:dLbl>
            <c:dLbl>
              <c:idx val="6"/>
              <c:tx>
                <c:rich>
                  <a:bodyPr/>
                  <a:lstStyle/>
                  <a:p>
                    <a:r>
                      <a:t>12486.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437-423E-9DAB-9389FAF5ADA3}"/>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437-423E-9DAB-9389FAF5ADA3}"/>
                </c:ext>
              </c:extLst>
            </c:dLbl>
            <c:dLbl>
              <c:idx val="8"/>
              <c:tx>
                <c:rich>
                  <a:bodyPr/>
                  <a:lstStyle/>
                  <a:p>
                    <a:r>
                      <a:t>158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437-423E-9DAB-9389FAF5ADA3}"/>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437-423E-9DAB-9389FAF5ADA3}"/>
                </c:ext>
              </c:extLst>
            </c:dLbl>
            <c:dLbl>
              <c:idx val="10"/>
              <c:tx>
                <c:rich>
                  <a:bodyPr/>
                  <a:lstStyle/>
                  <a:p>
                    <a:r>
                      <a:t>3616.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437-423E-9DAB-9389FAF5ADA3}"/>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437-423E-9DAB-9389FAF5ADA3}"/>
                </c:ext>
              </c:extLst>
            </c:dLbl>
            <c:dLbl>
              <c:idx val="12"/>
              <c:tx>
                <c:rich>
                  <a:bodyPr/>
                  <a:lstStyle/>
                  <a:p>
                    <a:r>
                      <a:t>2994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7437-423E-9DAB-9389FAF5ADA3}"/>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437-423E-9DAB-9389FAF5ADA3}"/>
                </c:ext>
              </c:extLst>
            </c:dLbl>
            <c:dLbl>
              <c:idx val="14"/>
              <c:tx>
                <c:rich>
                  <a:bodyPr/>
                  <a:lstStyle/>
                  <a:p>
                    <a:r>
                      <a:t>9679.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437-423E-9DAB-9389FAF5ADA3}"/>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437-423E-9DAB-9389FAF5ADA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lvl>
                <c:lvl>
                  <c:pt idx="0">
                    <c:v>Sunscreen Crema</c:v>
                  </c:pt>
                  <c:pt idx="2">
                    <c:v>Sunscreen Liquido</c:v>
                  </c:pt>
                  <c:pt idx="4">
                    <c:v>Sunscreen Gel</c:v>
                  </c:pt>
                  <c:pt idx="6">
                    <c:v>Sunscreen Fluido</c:v>
                  </c:pt>
                  <c:pt idx="8">
                    <c:v>Sunscreen Locion</c:v>
                  </c:pt>
                  <c:pt idx="10">
                    <c:v>Sunscreen Aceite</c:v>
                  </c:pt>
                  <c:pt idx="12">
                    <c:v>Sunscreen Stick</c:v>
                  </c:pt>
                  <c:pt idx="14">
                    <c:v>Sunscreen Gel-Crema</c:v>
                  </c:pt>
                </c:lvl>
                <c:lvl>
                  <c:pt idx="0">
                    <c:v>Sunscreen</c:v>
                  </c:pt>
                </c:lvl>
              </c:multiLvlStrCache>
            </c:multiLvlStrRef>
          </c:cat>
          <c:val>
            <c:numRef>
              <c:f>Sheet1!$E$2:$E$17</c:f>
              <c:numCache>
                <c:formatCode>General</c:formatCode>
                <c:ptCount val="16"/>
                <c:pt idx="0">
                  <c:v>2480.8530999999998</c:v>
                </c:pt>
                <c:pt idx="1">
                  <c:v>0</c:v>
                </c:pt>
                <c:pt idx="2">
                  <c:v>1533.6077</c:v>
                </c:pt>
                <c:pt idx="3">
                  <c:v>3923.2984000000001</c:v>
                </c:pt>
                <c:pt idx="4">
                  <c:v>3000.1498000000001</c:v>
                </c:pt>
                <c:pt idx="5">
                  <c:v>0</c:v>
                </c:pt>
                <c:pt idx="6">
                  <c:v>12486.0093</c:v>
                </c:pt>
                <c:pt idx="7">
                  <c:v>0</c:v>
                </c:pt>
                <c:pt idx="8">
                  <c:v>1589.2047</c:v>
                </c:pt>
                <c:pt idx="9">
                  <c:v>0</c:v>
                </c:pt>
                <c:pt idx="10">
                  <c:v>3616.8251</c:v>
                </c:pt>
                <c:pt idx="11">
                  <c:v>0</c:v>
                </c:pt>
                <c:pt idx="12">
                  <c:v>29942.361799999999</c:v>
                </c:pt>
                <c:pt idx="13">
                  <c:v>0</c:v>
                </c:pt>
                <c:pt idx="14">
                  <c:v>9679.4454999999998</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A7AD78-D6BE-4C1C-A47D-B6107E6055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9A91C08-89E7-44E5-84FC-6B5739BC0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D4F0ADC-D8F9-4301-9DF7-DF814D13B8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8614342-8AD4-4DAC-9352-FD53B86F28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1D68D50-C975-40D9-A968-EA8B24FB47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DB44D3D-9D1E-4CB9-BEC4-1ACC651E24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C387E79-0395-44F4-98BB-1D64D85DE2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398396C-076C-4D6F-881D-AA7623FEFD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0.75120000000001</c:v>
                </c:pt>
                <c:pt idx="1">
                  <c:v>612.90509999999995</c:v>
                </c:pt>
                <c:pt idx="2">
                  <c:v>219.54179999999999</c:v>
                </c:pt>
                <c:pt idx="3">
                  <c:v>589.39139999999998</c:v>
                </c:pt>
                <c:pt idx="4">
                  <c:v>212.96</c:v>
                </c:pt>
                <c:pt idx="5">
                  <c:v>659.04079999999999</c:v>
                </c:pt>
                <c:pt idx="6">
                  <c:v>682.5127</c:v>
                </c:pt>
                <c:pt idx="7">
                  <c:v>208.48599999999999</c:v>
                </c:pt>
              </c:numCache>
            </c:numRef>
          </c:xVal>
          <c:yVal>
            <c:numRef>
              <c:f>Sheet1!$B$2:$B$9</c:f>
              <c:numCache>
                <c:formatCode>General</c:formatCode>
                <c:ptCount val="8"/>
                <c:pt idx="0">
                  <c:v>0.73099999999999998</c:v>
                </c:pt>
                <c:pt idx="1">
                  <c:v>2.7789999999999999</c:v>
                </c:pt>
                <c:pt idx="2">
                  <c:v>0.501</c:v>
                </c:pt>
                <c:pt idx="3">
                  <c:v>4.625</c:v>
                </c:pt>
                <c:pt idx="4">
                  <c:v>0.48899999999999999</c:v>
                </c:pt>
                <c:pt idx="5">
                  <c:v>3.8980000000000001</c:v>
                </c:pt>
                <c:pt idx="6">
                  <c:v>3.4430000000000001</c:v>
                </c:pt>
                <c:pt idx="7">
                  <c:v>1.7370000000000001</c:v>
                </c:pt>
              </c:numCache>
            </c:numRef>
          </c:yVal>
          <c:bubbleSize>
            <c:numRef>
              <c:f>Sheet1!$C$2:$C$9</c:f>
              <c:numCache>
                <c:formatCode>General</c:formatCode>
                <c:ptCount val="8"/>
                <c:pt idx="0">
                  <c:v>726313442</c:v>
                </c:pt>
                <c:pt idx="1">
                  <c:v>560154823</c:v>
                </c:pt>
                <c:pt idx="2">
                  <c:v>374545370</c:v>
                </c:pt>
                <c:pt idx="3">
                  <c:v>354099274</c:v>
                </c:pt>
                <c:pt idx="4">
                  <c:v>315308437</c:v>
                </c:pt>
                <c:pt idx="5">
                  <c:v>246274334</c:v>
                </c:pt>
                <c:pt idx="6">
                  <c:v>224564421</c:v>
                </c:pt>
                <c:pt idx="7">
                  <c:v>12989092</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Hawaiian Tropic</c:v>
                  </c:pt>
                  <c:pt idx="3">
                    <c:v>La Roche-Posay</c:v>
                  </c:pt>
                  <c:pt idx="4">
                    <c:v>Banana Boat</c:v>
                  </c:pt>
                  <c:pt idx="5">
                    <c:v>Eucerin</c:v>
                  </c:pt>
                  <c:pt idx="6">
                    <c:v>Avene</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9"/>
          <c:min val="16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C84CEA73-1D60-4623-81BD-BF50059FF2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9DB96DE5-97FE-442E-B6AB-CC742E165E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0DD7EAD9-14B0-4FA5-9A9C-B891CDF56A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87F5218D-F8EF-41E8-90B3-238E357045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CAB6F0C7-83E4-47D1-9C96-B8A1BCFDAC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D8BE59F7-F964-418D-AB74-4D7DADE988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247C7C19-6E2C-456F-B96B-3085155B18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CCB04E5D-4A6B-4160-ADD2-1617127D50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05699999999999</c:v>
                </c:pt>
              </c:numCache>
            </c:numRef>
          </c:xVal>
          <c:yVal>
            <c:numRef>
              <c:f>Sheet1!$B$2:$B$2</c:f>
              <c:numCache>
                <c:formatCode>General</c:formatCode>
                <c:ptCount val="1"/>
                <c:pt idx="0">
                  <c:v>0.93899999999999995</c:v>
                </c:pt>
              </c:numCache>
            </c:numRef>
          </c:yVal>
          <c:bubbleSize>
            <c:numRef>
              <c:f>Sheet1!$C$2:$C$2</c:f>
              <c:numCache>
                <c:formatCode>General</c:formatCode>
                <c:ptCount val="1"/>
                <c:pt idx="0">
                  <c:v>13435038</c:v>
                </c:pt>
              </c:numCache>
            </c:numRef>
          </c:bubbleSize>
          <c:bubble3D val="0"/>
          <c:extLst>
            <c:ext xmlns:c15="http://schemas.microsoft.com/office/drawing/2012/chart" uri="{02D57815-91ED-43cb-92C2-25804820EDAC}">
              <c15:datalabelsRange>
                <c15:f>Sheet1!$E$2:$E$10</c15:f>
                <c15:dlblRangeCache>
                  <c:ptCount val="9"/>
                  <c:pt idx="0">
                    <c:v>Garni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8"/>
          <c:min val="17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B960-447A-94FA-12877DA47875}"/>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B960-447A-94FA-12877DA47875}"/>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lvl>
                <c:lvl>
                  <c:pt idx="0">
                    <c:v>Sunscreen Crema</c:v>
                  </c:pt>
                  <c:pt idx="2">
                    <c:v>Sunscreen Liquido</c:v>
                  </c:pt>
                  <c:pt idx="4">
                    <c:v>Sunscreen Gel</c:v>
                  </c:pt>
                  <c:pt idx="6">
                    <c:v>Sunscreen Fluido</c:v>
                  </c:pt>
                  <c:pt idx="8">
                    <c:v>Sunscreen Locion</c:v>
                  </c:pt>
                  <c:pt idx="10">
                    <c:v>Sunscreen Aceite</c:v>
                  </c:pt>
                  <c:pt idx="12">
                    <c:v>Sunscreen Stick</c:v>
                  </c:pt>
                  <c:pt idx="14">
                    <c:v>Sunscreen Gel-Crema</c:v>
                  </c:pt>
                </c:lvl>
                <c:lvl>
                  <c:pt idx="0">
                    <c:v>Sunscreen</c:v>
                  </c:pt>
                </c:lvl>
              </c:multiLvlStrCache>
            </c:multiLvlStrRef>
          </c:cat>
          <c:val>
            <c:numRef>
              <c:f>Sheet1!$D$2:$D$17</c:f>
              <c:numCache>
                <c:formatCode>General</c:formatCode>
                <c:ptCount val="16"/>
                <c:pt idx="0">
                  <c:v>1694.9</c:v>
                </c:pt>
                <c:pt idx="1">
                  <c:v>0</c:v>
                </c:pt>
                <c:pt idx="2">
                  <c:v>770.8</c:v>
                </c:pt>
                <c:pt idx="3">
                  <c:v>13</c:v>
                </c:pt>
                <c:pt idx="4">
                  <c:v>413.8</c:v>
                </c:pt>
                <c:pt idx="5">
                  <c:v>0</c:v>
                </c:pt>
                <c:pt idx="6">
                  <c:v>350.8</c:v>
                </c:pt>
                <c:pt idx="7">
                  <c:v>0</c:v>
                </c:pt>
                <c:pt idx="8">
                  <c:v>116.7</c:v>
                </c:pt>
                <c:pt idx="9">
                  <c:v>0</c:v>
                </c:pt>
                <c:pt idx="10">
                  <c:v>70.8</c:v>
                </c:pt>
                <c:pt idx="11">
                  <c:v>0</c:v>
                </c:pt>
                <c:pt idx="12">
                  <c:v>59.3</c:v>
                </c:pt>
                <c:pt idx="13">
                  <c:v>0</c:v>
                </c:pt>
                <c:pt idx="14">
                  <c:v>41.7</c:v>
                </c:pt>
                <c:pt idx="1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56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552.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4126.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2980.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B960-447A-94FA-12877DA47875}"/>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B960-447A-94FA-12877DA47875}"/>
                </c:ext>
              </c:extLst>
            </c:dLbl>
            <c:dLbl>
              <c:idx val="6"/>
              <c:tx>
                <c:rich>
                  <a:bodyPr/>
                  <a:lstStyle/>
                  <a:p>
                    <a:r>
                      <a:t>12934.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B960-447A-94FA-12877DA47875}"/>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B960-447A-94FA-12877DA47875}"/>
                </c:ext>
              </c:extLst>
            </c:dLbl>
            <c:dLbl>
              <c:idx val="8"/>
              <c:tx>
                <c:rich>
                  <a:bodyPr/>
                  <a:lstStyle/>
                  <a:p>
                    <a:r>
                      <a:t>1626.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B960-447A-94FA-12877DA47875}"/>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B960-447A-94FA-12877DA47875}"/>
                </c:ext>
              </c:extLst>
            </c:dLbl>
            <c:dLbl>
              <c:idx val="10"/>
              <c:tx>
                <c:rich>
                  <a:bodyPr/>
                  <a:lstStyle/>
                  <a:p>
                    <a:r>
                      <a:t>3753.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B960-447A-94FA-12877DA47875}"/>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B960-447A-94FA-12877DA47875}"/>
                </c:ext>
              </c:extLst>
            </c:dLbl>
            <c:dLbl>
              <c:idx val="12"/>
              <c:tx>
                <c:rich>
                  <a:bodyPr/>
                  <a:lstStyle/>
                  <a:p>
                    <a:r>
                      <a:t>34951.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B960-447A-94FA-12877DA47875}"/>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B960-447A-94FA-12877DA47875}"/>
                </c:ext>
              </c:extLst>
            </c:dLbl>
            <c:dLbl>
              <c:idx val="14"/>
              <c:tx>
                <c:rich>
                  <a:bodyPr/>
                  <a:lstStyle/>
                  <a:p>
                    <a:r>
                      <a:t>10208.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B960-447A-94FA-12877DA47875}"/>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B960-447A-94FA-12877DA4787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lvl>
                <c:lvl>
                  <c:pt idx="0">
                    <c:v>Sunscreen Crema</c:v>
                  </c:pt>
                  <c:pt idx="2">
                    <c:v>Sunscreen Liquido</c:v>
                  </c:pt>
                  <c:pt idx="4">
                    <c:v>Sunscreen Gel</c:v>
                  </c:pt>
                  <c:pt idx="6">
                    <c:v>Sunscreen Fluido</c:v>
                  </c:pt>
                  <c:pt idx="8">
                    <c:v>Sunscreen Locion</c:v>
                  </c:pt>
                  <c:pt idx="10">
                    <c:v>Sunscreen Aceite</c:v>
                  </c:pt>
                  <c:pt idx="12">
                    <c:v>Sunscreen Stick</c:v>
                  </c:pt>
                  <c:pt idx="14">
                    <c:v>Sunscreen Gel-Crema</c:v>
                  </c:pt>
                </c:lvl>
                <c:lvl>
                  <c:pt idx="0">
                    <c:v>Sunscreen</c:v>
                  </c:pt>
                </c:lvl>
              </c:multiLvlStrCache>
            </c:multiLvlStrRef>
          </c:cat>
          <c:val>
            <c:numRef>
              <c:f>Sheet1!$E$2:$E$17</c:f>
              <c:numCache>
                <c:formatCode>General</c:formatCode>
                <c:ptCount val="16"/>
                <c:pt idx="0">
                  <c:v>2560.0007000000001</c:v>
                </c:pt>
                <c:pt idx="1">
                  <c:v>0</c:v>
                </c:pt>
                <c:pt idx="2">
                  <c:v>1552.5425</c:v>
                </c:pt>
                <c:pt idx="3">
                  <c:v>4126.1409999999996</c:v>
                </c:pt>
                <c:pt idx="4">
                  <c:v>2980.4443000000001</c:v>
                </c:pt>
                <c:pt idx="5">
                  <c:v>0</c:v>
                </c:pt>
                <c:pt idx="6">
                  <c:v>12934.4946</c:v>
                </c:pt>
                <c:pt idx="7">
                  <c:v>0</c:v>
                </c:pt>
                <c:pt idx="8">
                  <c:v>1626.7792999999999</c:v>
                </c:pt>
                <c:pt idx="9">
                  <c:v>0</c:v>
                </c:pt>
                <c:pt idx="10">
                  <c:v>3753.9643999999998</c:v>
                </c:pt>
                <c:pt idx="11">
                  <c:v>0</c:v>
                </c:pt>
                <c:pt idx="12">
                  <c:v>34951.069499999998</c:v>
                </c:pt>
                <c:pt idx="13">
                  <c:v>0</c:v>
                </c:pt>
                <c:pt idx="14">
                  <c:v>10208.26</c:v>
                </c:pt>
                <c:pt idx="1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1BEF-43B4-B7F5-BDE9DB9B889A}"/>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1BEF-43B4-B7F5-BDE9DB9B889A}"/>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pt idx="16">
                    <c:v>Total</c:v>
                  </c:pt>
                  <c:pt idx="17">
                    <c:v>Beauty Care</c:v>
                  </c:pt>
                </c:lvl>
                <c:lvl>
                  <c:pt idx="0">
                    <c:v>Sunscreen Crema</c:v>
                  </c:pt>
                  <c:pt idx="2">
                    <c:v>Sunscreen Fluido</c:v>
                  </c:pt>
                  <c:pt idx="4">
                    <c:v>Sunscreen Gel</c:v>
                  </c:pt>
                  <c:pt idx="6">
                    <c:v>Sunscreen Liquido</c:v>
                  </c:pt>
                  <c:pt idx="8">
                    <c:v>Sunscreen Aceite</c:v>
                  </c:pt>
                  <c:pt idx="10">
                    <c:v>Sunscreen Stick</c:v>
                  </c:pt>
                  <c:pt idx="12">
                    <c:v>Sunscreen Locion</c:v>
                  </c:pt>
                  <c:pt idx="14">
                    <c:v>Sunscreen Gel-Crema</c:v>
                  </c:pt>
                  <c:pt idx="16">
                    <c:v>Sunscreen Spray</c:v>
                  </c:pt>
                </c:lvl>
                <c:lvl>
                  <c:pt idx="0">
                    <c:v>Sunscreen</c:v>
                  </c:pt>
                </c:lvl>
              </c:multiLvlStrCache>
            </c:multiLvlStrRef>
          </c:cat>
          <c:val>
            <c:numRef>
              <c:f>Sheet1!$D$2:$D$19</c:f>
              <c:numCache>
                <c:formatCode>General</c:formatCode>
                <c:ptCount val="18"/>
                <c:pt idx="0">
                  <c:v>936.4</c:v>
                </c:pt>
                <c:pt idx="1">
                  <c:v>0</c:v>
                </c:pt>
                <c:pt idx="2">
                  <c:v>294</c:v>
                </c:pt>
                <c:pt idx="3">
                  <c:v>0</c:v>
                </c:pt>
                <c:pt idx="4">
                  <c:v>283.89999999999998</c:v>
                </c:pt>
                <c:pt idx="5">
                  <c:v>0</c:v>
                </c:pt>
                <c:pt idx="6">
                  <c:v>276.5</c:v>
                </c:pt>
                <c:pt idx="7">
                  <c:v>0.5</c:v>
                </c:pt>
                <c:pt idx="8">
                  <c:v>52.2</c:v>
                </c:pt>
                <c:pt idx="9">
                  <c:v>0</c:v>
                </c:pt>
                <c:pt idx="10">
                  <c:v>48.9</c:v>
                </c:pt>
                <c:pt idx="11">
                  <c:v>0</c:v>
                </c:pt>
                <c:pt idx="12">
                  <c:v>40</c:v>
                </c:pt>
                <c:pt idx="13">
                  <c:v>0</c:v>
                </c:pt>
                <c:pt idx="14">
                  <c:v>38.9</c:v>
                </c:pt>
                <c:pt idx="15">
                  <c:v>0</c:v>
                </c:pt>
                <c:pt idx="16">
                  <c:v>27.1</c:v>
                </c:pt>
                <c:pt idx="1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4768.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698.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4428.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BEF-43B4-B7F5-BDE9DB9B889A}"/>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BEF-43B4-B7F5-BDE9DB9B889A}"/>
                </c:ext>
              </c:extLst>
            </c:dLbl>
            <c:dLbl>
              <c:idx val="6"/>
              <c:tx>
                <c:rich>
                  <a:bodyPr/>
                  <a:lstStyle/>
                  <a:p>
                    <a:r>
                      <a:t>1990.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BEF-43B4-B7F5-BDE9DB9B889A}"/>
                </c:ext>
              </c:extLst>
            </c:dLbl>
            <c:dLbl>
              <c:idx val="7"/>
              <c:tx>
                <c:rich>
                  <a:bodyPr/>
                  <a:lstStyle/>
                  <a:p>
                    <a:r>
                      <a:t>11522.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BEF-43B4-B7F5-BDE9DB9B889A}"/>
                </c:ext>
              </c:extLst>
            </c:dLbl>
            <c:dLbl>
              <c:idx val="8"/>
              <c:tx>
                <c:rich>
                  <a:bodyPr/>
                  <a:lstStyle/>
                  <a:p>
                    <a:r>
                      <a:t>4403.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BEF-43B4-B7F5-BDE9DB9B889A}"/>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BEF-43B4-B7F5-BDE9DB9B889A}"/>
                </c:ext>
              </c:extLst>
            </c:dLbl>
            <c:dLbl>
              <c:idx val="10"/>
              <c:tx>
                <c:rich>
                  <a:bodyPr/>
                  <a:lstStyle/>
                  <a:p>
                    <a:r>
                      <a:t>38518.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BEF-43B4-B7F5-BDE9DB9B889A}"/>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BEF-43B4-B7F5-BDE9DB9B889A}"/>
                </c:ext>
              </c:extLst>
            </c:dLbl>
            <c:dLbl>
              <c:idx val="12"/>
              <c:tx>
                <c:rich>
                  <a:bodyPr/>
                  <a:lstStyle/>
                  <a:p>
                    <a:r>
                      <a:t>2041.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BEF-43B4-B7F5-BDE9DB9B889A}"/>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BEF-43B4-B7F5-BDE9DB9B889A}"/>
                </c:ext>
              </c:extLst>
            </c:dLbl>
            <c:dLbl>
              <c:idx val="14"/>
              <c:tx>
                <c:rich>
                  <a:bodyPr/>
                  <a:lstStyle/>
                  <a:p>
                    <a:r>
                      <a:t>10908.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BEF-43B4-B7F5-BDE9DB9B889A}"/>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BEF-43B4-B7F5-BDE9DB9B889A}"/>
                </c:ext>
              </c:extLst>
            </c:dLbl>
            <c:dLbl>
              <c:idx val="16"/>
              <c:tx>
                <c:rich>
                  <a:bodyPr/>
                  <a:lstStyle/>
                  <a:p>
                    <a:r>
                      <a:t>3034.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BEF-43B4-B7F5-BDE9DB9B889A}"/>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BEF-43B4-B7F5-BDE9DB9B889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pt idx="16">
                    <c:v>Total</c:v>
                  </c:pt>
                  <c:pt idx="17">
                    <c:v>Beauty Care</c:v>
                  </c:pt>
                </c:lvl>
                <c:lvl>
                  <c:pt idx="0">
                    <c:v>Sunscreen Crema</c:v>
                  </c:pt>
                  <c:pt idx="2">
                    <c:v>Sunscreen Fluido</c:v>
                  </c:pt>
                  <c:pt idx="4">
                    <c:v>Sunscreen Gel</c:v>
                  </c:pt>
                  <c:pt idx="6">
                    <c:v>Sunscreen Liquido</c:v>
                  </c:pt>
                  <c:pt idx="8">
                    <c:v>Sunscreen Aceite</c:v>
                  </c:pt>
                  <c:pt idx="10">
                    <c:v>Sunscreen Stick</c:v>
                  </c:pt>
                  <c:pt idx="12">
                    <c:v>Sunscreen Locion</c:v>
                  </c:pt>
                  <c:pt idx="14">
                    <c:v>Sunscreen Gel-Crema</c:v>
                  </c:pt>
                  <c:pt idx="16">
                    <c:v>Sunscreen Spray</c:v>
                  </c:pt>
                </c:lvl>
                <c:lvl>
                  <c:pt idx="0">
                    <c:v>Sunscreen</c:v>
                  </c:pt>
                </c:lvl>
              </c:multiLvlStrCache>
            </c:multiLvlStrRef>
          </c:cat>
          <c:val>
            <c:numRef>
              <c:f>Sheet1!$E$2:$E$19</c:f>
              <c:numCache>
                <c:formatCode>General</c:formatCode>
                <c:ptCount val="18"/>
                <c:pt idx="0">
                  <c:v>4768.9269000000004</c:v>
                </c:pt>
                <c:pt idx="1">
                  <c:v>0</c:v>
                </c:pt>
                <c:pt idx="2">
                  <c:v>13698.9069</c:v>
                </c:pt>
                <c:pt idx="3">
                  <c:v>0</c:v>
                </c:pt>
                <c:pt idx="4">
                  <c:v>4428.4740000000002</c:v>
                </c:pt>
                <c:pt idx="5">
                  <c:v>0</c:v>
                </c:pt>
                <c:pt idx="6">
                  <c:v>1990.7431999999999</c:v>
                </c:pt>
                <c:pt idx="7">
                  <c:v>11522.434800000001</c:v>
                </c:pt>
                <c:pt idx="8">
                  <c:v>4403.4684999999999</c:v>
                </c:pt>
                <c:pt idx="9">
                  <c:v>0</c:v>
                </c:pt>
                <c:pt idx="10">
                  <c:v>38518.407099999997</c:v>
                </c:pt>
                <c:pt idx="11">
                  <c:v>0</c:v>
                </c:pt>
                <c:pt idx="12">
                  <c:v>2041.4597000000001</c:v>
                </c:pt>
                <c:pt idx="13">
                  <c:v>0</c:v>
                </c:pt>
                <c:pt idx="14">
                  <c:v>10908.8266</c:v>
                </c:pt>
                <c:pt idx="15">
                  <c:v>0</c:v>
                </c:pt>
                <c:pt idx="16">
                  <c:v>3034.8571000000002</c:v>
                </c:pt>
                <c:pt idx="1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EC3B-47B9-BF39-04012CB37712}"/>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3</c:f>
              <c:multiLvlStrCache>
                <c:ptCount val="12"/>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lvl>
                <c:lvl>
                  <c:pt idx="0">
                    <c:v>Sunscreen Crema</c:v>
                  </c:pt>
                  <c:pt idx="2">
                    <c:v>Sunscreen Liquido</c:v>
                  </c:pt>
                  <c:pt idx="4">
                    <c:v>Sunscreen Gel</c:v>
                  </c:pt>
                  <c:pt idx="6">
                    <c:v>Sunscreen Locion</c:v>
                  </c:pt>
                  <c:pt idx="8">
                    <c:v>Sunscreen Spray</c:v>
                  </c:pt>
                  <c:pt idx="10">
                    <c:v>Sunscreen Fluido</c:v>
                  </c:pt>
                </c:lvl>
                <c:lvl>
                  <c:pt idx="0">
                    <c:v>Sunscreen</c:v>
                  </c:pt>
                </c:lvl>
              </c:multiLvlStrCache>
            </c:multiLvlStrRef>
          </c:cat>
          <c:val>
            <c:numRef>
              <c:f>Sheet1!$D$2:$D$13</c:f>
              <c:numCache>
                <c:formatCode>General</c:formatCode>
                <c:ptCount val="12"/>
                <c:pt idx="0">
                  <c:v>16.399999999999999</c:v>
                </c:pt>
                <c:pt idx="1">
                  <c:v>0</c:v>
                </c:pt>
                <c:pt idx="2">
                  <c:v>5.4</c:v>
                </c:pt>
                <c:pt idx="3">
                  <c:v>0</c:v>
                </c:pt>
                <c:pt idx="4">
                  <c:v>1.9</c:v>
                </c:pt>
                <c:pt idx="5">
                  <c:v>0</c:v>
                </c:pt>
                <c:pt idx="6">
                  <c:v>0.6</c:v>
                </c:pt>
                <c:pt idx="7">
                  <c:v>0</c:v>
                </c:pt>
                <c:pt idx="8">
                  <c:v>0.4</c:v>
                </c:pt>
                <c:pt idx="9">
                  <c:v>0</c:v>
                </c:pt>
                <c:pt idx="10">
                  <c:v>0.3</c:v>
                </c:pt>
                <c:pt idx="11">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80.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49.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715.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844.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EC3B-47B9-BF39-04012CB37712}"/>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EC3B-47B9-BF39-04012CB37712}"/>
                </c:ext>
              </c:extLst>
            </c:dLbl>
            <c:dLbl>
              <c:idx val="6"/>
              <c:tx>
                <c:rich>
                  <a:bodyPr/>
                  <a:lstStyle/>
                  <a:p>
                    <a:r>
                      <a:t>1505.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EC3B-47B9-BF39-04012CB37712}"/>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EC3B-47B9-BF39-04012CB37712}"/>
                </c:ext>
              </c:extLst>
            </c:dLbl>
            <c:dLbl>
              <c:idx val="8"/>
              <c:tx>
                <c:rich>
                  <a:bodyPr/>
                  <a:lstStyle/>
                  <a:p>
                    <a:r>
                      <a:t>791.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EC3B-47B9-BF39-04012CB37712}"/>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EC3B-47B9-BF39-04012CB37712}"/>
                </c:ext>
              </c:extLst>
            </c:dLbl>
            <c:dLbl>
              <c:idx val="10"/>
              <c:tx>
                <c:rich>
                  <a:bodyPr/>
                  <a:lstStyle/>
                  <a:p>
                    <a:r>
                      <a:t>13214.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EC3B-47B9-BF39-04012CB37712}"/>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EC3B-47B9-BF39-04012CB377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3</c:f>
              <c:multiLvlStrCache>
                <c:ptCount val="12"/>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lvl>
                <c:lvl>
                  <c:pt idx="0">
                    <c:v>Sunscreen Crema</c:v>
                  </c:pt>
                  <c:pt idx="2">
                    <c:v>Sunscreen Liquido</c:v>
                  </c:pt>
                  <c:pt idx="4">
                    <c:v>Sunscreen Gel</c:v>
                  </c:pt>
                  <c:pt idx="6">
                    <c:v>Sunscreen Locion</c:v>
                  </c:pt>
                  <c:pt idx="8">
                    <c:v>Sunscreen Spray</c:v>
                  </c:pt>
                  <c:pt idx="10">
                    <c:v>Sunscreen Fluido</c:v>
                  </c:pt>
                </c:lvl>
                <c:lvl>
                  <c:pt idx="0">
                    <c:v>Sunscreen</c:v>
                  </c:pt>
                </c:lvl>
              </c:multiLvlStrCache>
            </c:multiLvlStrRef>
          </c:cat>
          <c:val>
            <c:numRef>
              <c:f>Sheet1!$E$2:$E$13</c:f>
              <c:numCache>
                <c:formatCode>General</c:formatCode>
                <c:ptCount val="12"/>
                <c:pt idx="0">
                  <c:v>1280.4523999999999</c:v>
                </c:pt>
                <c:pt idx="1">
                  <c:v>0</c:v>
                </c:pt>
                <c:pt idx="2">
                  <c:v>1349.3814</c:v>
                </c:pt>
                <c:pt idx="3">
                  <c:v>1715.6667</c:v>
                </c:pt>
                <c:pt idx="4">
                  <c:v>1844.4857999999999</c:v>
                </c:pt>
                <c:pt idx="5">
                  <c:v>0</c:v>
                </c:pt>
                <c:pt idx="6">
                  <c:v>1505.8407999999999</c:v>
                </c:pt>
                <c:pt idx="7">
                  <c:v>0</c:v>
                </c:pt>
                <c:pt idx="8">
                  <c:v>791.62879999999996</c:v>
                </c:pt>
                <c:pt idx="9">
                  <c:v>0</c:v>
                </c:pt>
                <c:pt idx="10">
                  <c:v>13214.6818</c:v>
                </c:pt>
                <c:pt idx="11">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8574-4842-8A7F-F79B09CFDF6C}"/>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3</c:f>
              <c:multiLvlStrCache>
                <c:ptCount val="12"/>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lvl>
                <c:lvl>
                  <c:pt idx="0">
                    <c:v>Sunscreen Crema</c:v>
                  </c:pt>
                  <c:pt idx="2">
                    <c:v>Sunscreen Liquido</c:v>
                  </c:pt>
                  <c:pt idx="4">
                    <c:v>Sunscreen Gel</c:v>
                  </c:pt>
                  <c:pt idx="6">
                    <c:v>Sunscreen Locion</c:v>
                  </c:pt>
                  <c:pt idx="8">
                    <c:v>Sunscreen Fluido</c:v>
                  </c:pt>
                  <c:pt idx="10">
                    <c:v>Sunscreen Aceite</c:v>
                  </c:pt>
                </c:lvl>
                <c:lvl>
                  <c:pt idx="0">
                    <c:v>Sunscreen</c:v>
                  </c:pt>
                </c:lvl>
              </c:multiLvlStrCache>
            </c:multiLvlStrRef>
          </c:cat>
          <c:val>
            <c:numRef>
              <c:f>Sheet1!$D$2:$D$13</c:f>
              <c:numCache>
                <c:formatCode>General</c:formatCode>
                <c:ptCount val="12"/>
                <c:pt idx="0">
                  <c:v>756.8</c:v>
                </c:pt>
                <c:pt idx="1">
                  <c:v>0</c:v>
                </c:pt>
                <c:pt idx="2">
                  <c:v>492.3</c:v>
                </c:pt>
                <c:pt idx="3">
                  <c:v>12.5</c:v>
                </c:pt>
                <c:pt idx="4">
                  <c:v>129.80000000000001</c:v>
                </c:pt>
                <c:pt idx="5">
                  <c:v>0</c:v>
                </c:pt>
                <c:pt idx="6">
                  <c:v>76.599999999999994</c:v>
                </c:pt>
                <c:pt idx="7">
                  <c:v>0</c:v>
                </c:pt>
                <c:pt idx="8">
                  <c:v>56.8</c:v>
                </c:pt>
                <c:pt idx="9">
                  <c:v>0</c:v>
                </c:pt>
                <c:pt idx="10">
                  <c:v>18.5</c:v>
                </c:pt>
                <c:pt idx="11">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36.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86.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4025.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742.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8574-4842-8A7F-F79B09CFDF6C}"/>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574-4842-8A7F-F79B09CFDF6C}"/>
                </c:ext>
              </c:extLst>
            </c:dLbl>
            <c:dLbl>
              <c:idx val="6"/>
              <c:tx>
                <c:rich>
                  <a:bodyPr/>
                  <a:lstStyle/>
                  <a:p>
                    <a:r>
                      <a:t>1480.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8574-4842-8A7F-F79B09CFDF6C}"/>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574-4842-8A7F-F79B09CFDF6C}"/>
                </c:ext>
              </c:extLst>
            </c:dLbl>
            <c:dLbl>
              <c:idx val="8"/>
              <c:tx>
                <c:rich>
                  <a:bodyPr/>
                  <a:lstStyle/>
                  <a:p>
                    <a:r>
                      <a:t>10910.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8574-4842-8A7F-F79B09CFDF6C}"/>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574-4842-8A7F-F79B09CFDF6C}"/>
                </c:ext>
              </c:extLst>
            </c:dLbl>
            <c:dLbl>
              <c:idx val="10"/>
              <c:tx>
                <c:rich>
                  <a:bodyPr/>
                  <a:lstStyle/>
                  <a:p>
                    <a:r>
                      <a:t>2652.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8574-4842-8A7F-F79B09CFDF6C}"/>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574-4842-8A7F-F79B09CFDF6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3</c:f>
              <c:multiLvlStrCache>
                <c:ptCount val="12"/>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lvl>
                <c:lvl>
                  <c:pt idx="0">
                    <c:v>Sunscreen Crema</c:v>
                  </c:pt>
                  <c:pt idx="2">
                    <c:v>Sunscreen Liquido</c:v>
                  </c:pt>
                  <c:pt idx="4">
                    <c:v>Sunscreen Gel</c:v>
                  </c:pt>
                  <c:pt idx="6">
                    <c:v>Sunscreen Locion</c:v>
                  </c:pt>
                  <c:pt idx="8">
                    <c:v>Sunscreen Fluido</c:v>
                  </c:pt>
                  <c:pt idx="10">
                    <c:v>Sunscreen Aceite</c:v>
                  </c:pt>
                </c:lvl>
                <c:lvl>
                  <c:pt idx="0">
                    <c:v>Sunscreen</c:v>
                  </c:pt>
                </c:lvl>
              </c:multiLvlStrCache>
            </c:multiLvlStrRef>
          </c:cat>
          <c:val>
            <c:numRef>
              <c:f>Sheet1!$E$2:$E$13</c:f>
              <c:numCache>
                <c:formatCode>General</c:formatCode>
                <c:ptCount val="12"/>
                <c:pt idx="0">
                  <c:v>1636.5192</c:v>
                </c:pt>
                <c:pt idx="1">
                  <c:v>0</c:v>
                </c:pt>
                <c:pt idx="2">
                  <c:v>1386.2406000000001</c:v>
                </c:pt>
                <c:pt idx="3">
                  <c:v>4025.5318000000002</c:v>
                </c:pt>
                <c:pt idx="4">
                  <c:v>1742.9694</c:v>
                </c:pt>
                <c:pt idx="5">
                  <c:v>0</c:v>
                </c:pt>
                <c:pt idx="6">
                  <c:v>1480.8145</c:v>
                </c:pt>
                <c:pt idx="7">
                  <c:v>0</c:v>
                </c:pt>
                <c:pt idx="8">
                  <c:v>10910.921200000001</c:v>
                </c:pt>
                <c:pt idx="9">
                  <c:v>0</c:v>
                </c:pt>
                <c:pt idx="10">
                  <c:v>2652.4679999999998</c:v>
                </c:pt>
                <c:pt idx="11">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BD97-4120-80AD-9A25F50FE76E}"/>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c:v>
                  </c:pt>
                  <c:pt idx="2">
                    <c:v>Banded Pack</c:v>
                  </c:pt>
                  <c:pt idx="4">
                    <c:v>After Sun</c:v>
                  </c:pt>
                  <c:pt idx="6">
                    <c:v>Tanning</c:v>
                  </c:pt>
                </c:lvl>
              </c:multiLvlStrCache>
            </c:multiLvlStrRef>
          </c:cat>
          <c:val>
            <c:numRef>
              <c:f>Sheet1!$C$2:$C$9</c:f>
              <c:numCache>
                <c:formatCode>General</c:formatCode>
                <c:ptCount val="8"/>
                <c:pt idx="0">
                  <c:v>3929.3</c:v>
                </c:pt>
                <c:pt idx="1">
                  <c:v>349</c:v>
                </c:pt>
                <c:pt idx="2">
                  <c:v>64.5</c:v>
                </c:pt>
                <c:pt idx="3">
                  <c:v>1.3</c:v>
                </c:pt>
                <c:pt idx="4">
                  <c:v>47.9</c:v>
                </c:pt>
                <c:pt idx="5">
                  <c:v>13.3</c:v>
                </c:pt>
                <c:pt idx="6">
                  <c:v>47.7</c:v>
                </c:pt>
                <c:pt idx="7">
                  <c:v>23.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435.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BD97-4120-80AD-9A25F50FE76E}"/>
                </c:ext>
              </c:extLst>
            </c:dLbl>
            <c:dLbl>
              <c:idx val="1"/>
              <c:tx>
                <c:rich>
                  <a:bodyPr/>
                  <a:lstStyle/>
                  <a:p>
                    <a:r>
                      <a:t>1214.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BD97-4120-80AD-9A25F50FE76E}"/>
                </c:ext>
              </c:extLst>
            </c:dLbl>
            <c:dLbl>
              <c:idx val="2"/>
              <c:tx>
                <c:rich>
                  <a:bodyPr/>
                  <a:lstStyle/>
                  <a:p>
                    <a:r>
                      <a:t>558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BD97-4120-80AD-9A25F50FE76E}"/>
                </c:ext>
              </c:extLst>
            </c:dLbl>
            <c:dLbl>
              <c:idx val="3"/>
              <c:tx>
                <c:rich>
                  <a:bodyPr/>
                  <a:lstStyle/>
                  <a:p>
                    <a:r>
                      <a:t>109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BD97-4120-80AD-9A25F50FE76E}"/>
                </c:ext>
              </c:extLst>
            </c:dLbl>
            <c:dLbl>
              <c:idx val="4"/>
              <c:tx>
                <c:rich>
                  <a:bodyPr/>
                  <a:lstStyle/>
                  <a:p>
                    <a:r>
                      <a:t>575.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BD97-4120-80AD-9A25F50FE76E}"/>
                </c:ext>
              </c:extLst>
            </c:dLbl>
            <c:dLbl>
              <c:idx val="5"/>
              <c:tx>
                <c:rich>
                  <a:bodyPr/>
                  <a:lstStyle/>
                  <a:p>
                    <a:r>
                      <a:t>717.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BD97-4120-80AD-9A25F50FE76E}"/>
                </c:ext>
              </c:extLst>
            </c:dLbl>
            <c:dLbl>
              <c:idx val="6"/>
              <c:tx>
                <c:rich>
                  <a:bodyPr/>
                  <a:lstStyle/>
                  <a:p>
                    <a:r>
                      <a:t>1124.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BD97-4120-80AD-9A25F50FE76E}"/>
                </c:ext>
              </c:extLst>
            </c:dLbl>
            <c:dLbl>
              <c:idx val="7"/>
              <c:tx>
                <c:rich>
                  <a:bodyPr/>
                  <a:lstStyle/>
                  <a:p>
                    <a:r>
                      <a:t>1090.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BD97-4120-80AD-9A25F50FE76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c:v>
                  </c:pt>
                  <c:pt idx="2">
                    <c:v>Banded Pack</c:v>
                  </c:pt>
                  <c:pt idx="4">
                    <c:v>After Sun</c:v>
                  </c:pt>
                  <c:pt idx="6">
                    <c:v>Tanning</c:v>
                  </c:pt>
                </c:lvl>
              </c:multiLvlStrCache>
            </c:multiLvlStrRef>
          </c:cat>
          <c:val>
            <c:numRef>
              <c:f>Sheet1!$D$2:$D$9</c:f>
              <c:numCache>
                <c:formatCode>General</c:formatCode>
                <c:ptCount val="8"/>
                <c:pt idx="0">
                  <c:v>2435.2701999999999</c:v>
                </c:pt>
                <c:pt idx="1">
                  <c:v>1214.3632</c:v>
                </c:pt>
                <c:pt idx="2">
                  <c:v>5580.9314999999997</c:v>
                </c:pt>
                <c:pt idx="3">
                  <c:v>1097.6007</c:v>
                </c:pt>
                <c:pt idx="4">
                  <c:v>575.82299999999998</c:v>
                </c:pt>
                <c:pt idx="5">
                  <c:v>717.25459999999998</c:v>
                </c:pt>
                <c:pt idx="6">
                  <c:v>1124.7554</c:v>
                </c:pt>
                <c:pt idx="7">
                  <c:v>1090.136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710B-42D4-BDD9-1783AA8631F8}"/>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c:v>
                  </c:pt>
                  <c:pt idx="2">
                    <c:v>Banded Pack</c:v>
                  </c:pt>
                  <c:pt idx="4">
                    <c:v>Tanning</c:v>
                  </c:pt>
                  <c:pt idx="6">
                    <c:v>After Sun</c:v>
                  </c:pt>
                </c:lvl>
              </c:multiLvlStrCache>
            </c:multiLvlStrRef>
          </c:cat>
          <c:val>
            <c:numRef>
              <c:f>Sheet1!$C$2:$C$9</c:f>
              <c:numCache>
                <c:formatCode>General</c:formatCode>
                <c:ptCount val="8"/>
                <c:pt idx="0">
                  <c:v>3574.1</c:v>
                </c:pt>
                <c:pt idx="1">
                  <c:v>338.2</c:v>
                </c:pt>
                <c:pt idx="2">
                  <c:v>62.6</c:v>
                </c:pt>
                <c:pt idx="3">
                  <c:v>1.3</c:v>
                </c:pt>
                <c:pt idx="4">
                  <c:v>46.4</c:v>
                </c:pt>
                <c:pt idx="5">
                  <c:v>22.5</c:v>
                </c:pt>
                <c:pt idx="6">
                  <c:v>45.6</c:v>
                </c:pt>
                <c:pt idx="7">
                  <c:v>12.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479.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10B-42D4-BDD9-1783AA8631F8}"/>
                </c:ext>
              </c:extLst>
            </c:dLbl>
            <c:dLbl>
              <c:idx val="1"/>
              <c:tx>
                <c:rich>
                  <a:bodyPr/>
                  <a:lstStyle/>
                  <a:p>
                    <a:r>
                      <a:t>12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10B-42D4-BDD9-1783AA8631F8}"/>
                </c:ext>
              </c:extLst>
            </c:dLbl>
            <c:dLbl>
              <c:idx val="2"/>
              <c:tx>
                <c:rich>
                  <a:bodyPr/>
                  <a:lstStyle/>
                  <a:p>
                    <a:r>
                      <a:t>6726.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10B-42D4-BDD9-1783AA8631F8}"/>
                </c:ext>
              </c:extLst>
            </c:dLbl>
            <c:dLbl>
              <c:idx val="3"/>
              <c:tx>
                <c:rich>
                  <a:bodyPr/>
                  <a:lstStyle/>
                  <a:p>
                    <a:r>
                      <a:t>1154.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10B-42D4-BDD9-1783AA8631F8}"/>
                </c:ext>
              </c:extLst>
            </c:dLbl>
            <c:dLbl>
              <c:idx val="4"/>
              <c:tx>
                <c:rich>
                  <a:bodyPr/>
                  <a:lstStyle/>
                  <a:p>
                    <a:r>
                      <a:t>1150.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10B-42D4-BDD9-1783AA8631F8}"/>
                </c:ext>
              </c:extLst>
            </c:dLbl>
            <c:dLbl>
              <c:idx val="5"/>
              <c:tx>
                <c:rich>
                  <a:bodyPr/>
                  <a:lstStyle/>
                  <a:p>
                    <a:r>
                      <a:t>1099.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10B-42D4-BDD9-1783AA8631F8}"/>
                </c:ext>
              </c:extLst>
            </c:dLbl>
            <c:dLbl>
              <c:idx val="6"/>
              <c:tx>
                <c:rich>
                  <a:bodyPr/>
                  <a:lstStyle/>
                  <a:p>
                    <a:r>
                      <a:t>579.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10B-42D4-BDD9-1783AA8631F8}"/>
                </c:ext>
              </c:extLst>
            </c:dLbl>
            <c:dLbl>
              <c:idx val="7"/>
              <c:tx>
                <c:rich>
                  <a:bodyPr/>
                  <a:lstStyle/>
                  <a:p>
                    <a:r>
                      <a:t>720.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10B-42D4-BDD9-1783AA8631F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c:v>
                  </c:pt>
                  <c:pt idx="2">
                    <c:v>Banded Pack</c:v>
                  </c:pt>
                  <c:pt idx="4">
                    <c:v>Tanning</c:v>
                  </c:pt>
                  <c:pt idx="6">
                    <c:v>After Sun</c:v>
                  </c:pt>
                </c:lvl>
              </c:multiLvlStrCache>
            </c:multiLvlStrRef>
          </c:cat>
          <c:val>
            <c:numRef>
              <c:f>Sheet1!$D$2:$D$9</c:f>
              <c:numCache>
                <c:formatCode>General</c:formatCode>
                <c:ptCount val="8"/>
                <c:pt idx="0">
                  <c:v>2479.5925999999999</c:v>
                </c:pt>
                <c:pt idx="1">
                  <c:v>1227.3973000000001</c:v>
                </c:pt>
                <c:pt idx="2">
                  <c:v>6726.9660999999996</c:v>
                </c:pt>
                <c:pt idx="3">
                  <c:v>1154.7472</c:v>
                </c:pt>
                <c:pt idx="4">
                  <c:v>1150.0271</c:v>
                </c:pt>
                <c:pt idx="5">
                  <c:v>1099.0913</c:v>
                </c:pt>
                <c:pt idx="6">
                  <c:v>579.65430000000003</c:v>
                </c:pt>
                <c:pt idx="7">
                  <c:v>720.982899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Hawaiian Tropic</c:v>
                  </c:pt>
                  <c:pt idx="2">
                    <c:v>Total</c:v>
                  </c:pt>
                  <c:pt idx="3">
                    <c:v>Hawaiian Tropic</c:v>
                  </c:pt>
                </c:lvl>
                <c:lvl>
                  <c:pt idx="0">
                    <c:v>Sunscreen</c:v>
                  </c:pt>
                  <c:pt idx="2">
                    <c:v>Banded Pack</c:v>
                  </c:pt>
                </c:lvl>
              </c:multiLvlStrCache>
            </c:multiLvlStrRef>
          </c:cat>
          <c:val>
            <c:numRef>
              <c:f>Sheet1!$C$2:$C$5</c:f>
              <c:numCache>
                <c:formatCode>General</c:formatCode>
                <c:ptCount val="4"/>
                <c:pt idx="0">
                  <c:v>2003.1</c:v>
                </c:pt>
                <c:pt idx="1">
                  <c:v>91</c:v>
                </c:pt>
                <c:pt idx="2">
                  <c:v>43.6</c:v>
                </c:pt>
                <c:pt idx="3">
                  <c:v>1.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429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9505-4F90-B80E-EEDF43F544F2}"/>
                </c:ext>
              </c:extLst>
            </c:dLbl>
            <c:dLbl>
              <c:idx val="1"/>
              <c:tx>
                <c:rich>
                  <a:bodyPr/>
                  <a:lstStyle/>
                  <a:p>
                    <a:r>
                      <a:t>1281.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505-4F90-B80E-EEDF43F544F2}"/>
                </c:ext>
              </c:extLst>
            </c:dLbl>
            <c:dLbl>
              <c:idx val="2"/>
              <c:tx>
                <c:rich>
                  <a:bodyPr/>
                  <a:lstStyle/>
                  <a:p>
                    <a:r>
                      <a:t>8097.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9505-4F90-B80E-EEDF43F544F2}"/>
                </c:ext>
              </c:extLst>
            </c:dLbl>
            <c:dLbl>
              <c:idx val="3"/>
              <c:tx>
                <c:rich>
                  <a:bodyPr/>
                  <a:lstStyle/>
                  <a:p>
                    <a:r>
                      <a:t>1142.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505-4F90-B80E-EEDF43F544F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Hawaiian Tropic</c:v>
                  </c:pt>
                  <c:pt idx="2">
                    <c:v>Total</c:v>
                  </c:pt>
                  <c:pt idx="3">
                    <c:v>Hawaiian Tropic</c:v>
                  </c:pt>
                </c:lvl>
                <c:lvl>
                  <c:pt idx="0">
                    <c:v>Sunscreen</c:v>
                  </c:pt>
                  <c:pt idx="2">
                    <c:v>Banded Pack</c:v>
                  </c:pt>
                </c:lvl>
              </c:multiLvlStrCache>
            </c:multiLvlStrRef>
          </c:cat>
          <c:val>
            <c:numRef>
              <c:f>Sheet1!$D$2:$D$5</c:f>
              <c:numCache>
                <c:formatCode>General</c:formatCode>
                <c:ptCount val="4"/>
                <c:pt idx="0">
                  <c:v>4291.7371000000003</c:v>
                </c:pt>
                <c:pt idx="1">
                  <c:v>1281.8778</c:v>
                </c:pt>
                <c:pt idx="2">
                  <c:v>8097.1406999999999</c:v>
                </c:pt>
                <c:pt idx="3">
                  <c:v>1142.86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Hawaiian Tropic</c:v>
                  </c:pt>
                  <c:pt idx="2">
                    <c:v>Total</c:v>
                  </c:pt>
                  <c:pt idx="3">
                    <c:v>Hawaiian Tropic</c:v>
                  </c:pt>
                </c:lvl>
                <c:lvl>
                  <c:pt idx="0">
                    <c:v>Sunscreen</c:v>
                  </c:pt>
                  <c:pt idx="2">
                    <c:v>After Sun</c:v>
                  </c:pt>
                </c:lvl>
              </c:multiLvlStrCache>
            </c:multiLvlStrRef>
          </c:cat>
          <c:val>
            <c:numRef>
              <c:f>Sheet1!$C$2:$C$5</c:f>
              <c:numCache>
                <c:formatCode>General</c:formatCode>
                <c:ptCount val="4"/>
                <c:pt idx="0">
                  <c:v>25.1</c:v>
                </c:pt>
                <c:pt idx="1">
                  <c:v>1</c:v>
                </c:pt>
                <c:pt idx="2">
                  <c:v>0.4</c:v>
                </c:pt>
                <c:pt idx="3">
                  <c:v>0.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37.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A65-41A4-BD10-52A06385A13C}"/>
                </c:ext>
              </c:extLst>
            </c:dLbl>
            <c:dLbl>
              <c:idx val="1"/>
              <c:tx>
                <c:rich>
                  <a:bodyPr/>
                  <a:lstStyle/>
                  <a:p>
                    <a:r>
                      <a:t>1074.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A65-41A4-BD10-52A06385A13C}"/>
                </c:ext>
              </c:extLst>
            </c:dLbl>
            <c:dLbl>
              <c:idx val="2"/>
              <c:tx>
                <c:rich>
                  <a:bodyPr/>
                  <a:lstStyle/>
                  <a:p>
                    <a:r>
                      <a:t>572.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A65-41A4-BD10-52A06385A13C}"/>
                </c:ext>
              </c:extLst>
            </c:dLbl>
            <c:dLbl>
              <c:idx val="3"/>
              <c:tx>
                <c:rich>
                  <a:bodyPr/>
                  <a:lstStyle/>
                  <a:p>
                    <a:r>
                      <a:t>571.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A65-41A4-BD10-52A06385A13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Hawaiian Tropic</c:v>
                  </c:pt>
                  <c:pt idx="2">
                    <c:v>Total</c:v>
                  </c:pt>
                  <c:pt idx="3">
                    <c:v>Hawaiian Tropic</c:v>
                  </c:pt>
                </c:lvl>
                <c:lvl>
                  <c:pt idx="0">
                    <c:v>Sunscreen</c:v>
                  </c:pt>
                  <c:pt idx="2">
                    <c:v>After Sun</c:v>
                  </c:pt>
                </c:lvl>
              </c:multiLvlStrCache>
            </c:multiLvlStrRef>
          </c:cat>
          <c:val>
            <c:numRef>
              <c:f>Sheet1!$D$2:$D$5</c:f>
              <c:numCache>
                <c:formatCode>General</c:formatCode>
                <c:ptCount val="4"/>
                <c:pt idx="0">
                  <c:v>1337.7391</c:v>
                </c:pt>
                <c:pt idx="1">
                  <c:v>1074.412</c:v>
                </c:pt>
                <c:pt idx="2">
                  <c:v>572.21349999999995</c:v>
                </c:pt>
                <c:pt idx="3">
                  <c:v>571.0279000000000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3396-46AB-9D10-CA339AC7F921}"/>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c:v>
                  </c:pt>
                  <c:pt idx="2">
                    <c:v>Tanning</c:v>
                  </c:pt>
                  <c:pt idx="4">
                    <c:v>After Sun</c:v>
                  </c:pt>
                  <c:pt idx="6">
                    <c:v>Banded Pack</c:v>
                  </c:pt>
                </c:lvl>
              </c:multiLvlStrCache>
            </c:multiLvlStrRef>
          </c:cat>
          <c:val>
            <c:numRef>
              <c:f>Sheet1!$C$2:$C$9</c:f>
              <c:numCache>
                <c:formatCode>General</c:formatCode>
                <c:ptCount val="8"/>
                <c:pt idx="0">
                  <c:v>1567.1</c:v>
                </c:pt>
                <c:pt idx="1">
                  <c:v>246.5</c:v>
                </c:pt>
                <c:pt idx="2">
                  <c:v>32.5</c:v>
                </c:pt>
                <c:pt idx="3">
                  <c:v>13.3</c:v>
                </c:pt>
                <c:pt idx="4">
                  <c:v>25</c:v>
                </c:pt>
                <c:pt idx="5">
                  <c:v>9.3000000000000007</c:v>
                </c:pt>
                <c:pt idx="6">
                  <c:v>18.899999999999999</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19.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3396-46AB-9D10-CA339AC7F921}"/>
                </c:ext>
              </c:extLst>
            </c:dLbl>
            <c:dLbl>
              <c:idx val="1"/>
              <c:tx>
                <c:rich>
                  <a:bodyPr/>
                  <a:lstStyle/>
                  <a:p>
                    <a:r>
                      <a:t>1210.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3396-46AB-9D10-CA339AC7F921}"/>
                </c:ext>
              </c:extLst>
            </c:dLbl>
            <c:dLbl>
              <c:idx val="2"/>
              <c:tx>
                <c:rich>
                  <a:bodyPr/>
                  <a:lstStyle/>
                  <a:p>
                    <a:r>
                      <a:t>1116.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3396-46AB-9D10-CA339AC7F921}"/>
                </c:ext>
              </c:extLst>
            </c:dLbl>
            <c:dLbl>
              <c:idx val="3"/>
              <c:tx>
                <c:rich>
                  <a:bodyPr/>
                  <a:lstStyle/>
                  <a:p>
                    <a:r>
                      <a:t>1122.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3396-46AB-9D10-CA339AC7F921}"/>
                </c:ext>
              </c:extLst>
            </c:dLbl>
            <c:dLbl>
              <c:idx val="4"/>
              <c:tx>
                <c:rich>
                  <a:bodyPr/>
                  <a:lstStyle/>
                  <a:p>
                    <a:r>
                      <a:t>577.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3396-46AB-9D10-CA339AC7F921}"/>
                </c:ext>
              </c:extLst>
            </c:dLbl>
            <c:dLbl>
              <c:idx val="5"/>
              <c:tx>
                <c:rich>
                  <a:bodyPr/>
                  <a:lstStyle/>
                  <a:p>
                    <a:r>
                      <a:t>675.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3396-46AB-9D10-CA339AC7F921}"/>
                </c:ext>
              </c:extLst>
            </c:dLbl>
            <c:dLbl>
              <c:idx val="6"/>
              <c:tx>
                <c:rich>
                  <a:bodyPr/>
                  <a:lstStyle/>
                  <a:p>
                    <a:r>
                      <a:t>4966.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3396-46AB-9D10-CA339AC7F921}"/>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3396-46AB-9D10-CA339AC7F92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c:v>
                  </c:pt>
                  <c:pt idx="2">
                    <c:v>Tanning</c:v>
                  </c:pt>
                  <c:pt idx="4">
                    <c:v>After Sun</c:v>
                  </c:pt>
                  <c:pt idx="6">
                    <c:v>Banded Pack</c:v>
                  </c:pt>
                </c:lvl>
              </c:multiLvlStrCache>
            </c:multiLvlStrRef>
          </c:cat>
          <c:val>
            <c:numRef>
              <c:f>Sheet1!$D$2:$D$9</c:f>
              <c:numCache>
                <c:formatCode>General</c:formatCode>
                <c:ptCount val="8"/>
                <c:pt idx="0">
                  <c:v>1619.4178999999999</c:v>
                </c:pt>
                <c:pt idx="1">
                  <c:v>1210.8336999999999</c:v>
                </c:pt>
                <c:pt idx="2">
                  <c:v>1116.2927</c:v>
                </c:pt>
                <c:pt idx="3">
                  <c:v>1122.9222</c:v>
                </c:pt>
                <c:pt idx="4">
                  <c:v>577.77239999999995</c:v>
                </c:pt>
                <c:pt idx="5">
                  <c:v>675.81579999999997</c:v>
                </c:pt>
                <c:pt idx="6">
                  <c:v>4966.2389999999996</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46F2-4165-A01A-118AD94CFD94}"/>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c:v>
                  </c:pt>
                  <c:pt idx="2">
                    <c:v>Banded Pack</c:v>
                  </c:pt>
                  <c:pt idx="4">
                    <c:v>After Sun</c:v>
                  </c:pt>
                  <c:pt idx="6">
                    <c:v>Tanning</c:v>
                  </c:pt>
                </c:lvl>
              </c:multiLvlStrCache>
            </c:multiLvlStrRef>
          </c:cat>
          <c:val>
            <c:numRef>
              <c:f>Sheet1!$C$2:$C$9</c:f>
              <c:numCache>
                <c:formatCode>General</c:formatCode>
                <c:ptCount val="8"/>
                <c:pt idx="0">
                  <c:v>3929.3</c:v>
                </c:pt>
                <c:pt idx="1">
                  <c:v>303.10000000000002</c:v>
                </c:pt>
                <c:pt idx="2">
                  <c:v>64.5</c:v>
                </c:pt>
                <c:pt idx="3">
                  <c:v>1</c:v>
                </c:pt>
                <c:pt idx="4">
                  <c:v>47.9</c:v>
                </c:pt>
                <c:pt idx="5">
                  <c:v>21.3</c:v>
                </c:pt>
                <c:pt idx="6">
                  <c:v>47.7</c:v>
                </c:pt>
                <c:pt idx="7">
                  <c:v>4.099999999999999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435.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46F2-4165-A01A-118AD94CFD94}"/>
                </c:ext>
              </c:extLst>
            </c:dLbl>
            <c:dLbl>
              <c:idx val="1"/>
              <c:tx>
                <c:rich>
                  <a:bodyPr/>
                  <a:lstStyle/>
                  <a:p>
                    <a:r>
                      <a:t>1250.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46F2-4165-A01A-118AD94CFD94}"/>
                </c:ext>
              </c:extLst>
            </c:dLbl>
            <c:dLbl>
              <c:idx val="2"/>
              <c:tx>
                <c:rich>
                  <a:bodyPr/>
                  <a:lstStyle/>
                  <a:p>
                    <a:r>
                      <a:t>558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46F2-4165-A01A-118AD94CFD94}"/>
                </c:ext>
              </c:extLst>
            </c:dLbl>
            <c:dLbl>
              <c:idx val="3"/>
              <c:tx>
                <c:rich>
                  <a:bodyPr/>
                  <a:lstStyle/>
                  <a:p>
                    <a:r>
                      <a:t>970.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46F2-4165-A01A-118AD94CFD94}"/>
                </c:ext>
              </c:extLst>
            </c:dLbl>
            <c:dLbl>
              <c:idx val="4"/>
              <c:tx>
                <c:rich>
                  <a:bodyPr/>
                  <a:lstStyle/>
                  <a:p>
                    <a:r>
                      <a:t>575.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46F2-4165-A01A-118AD94CFD94}"/>
                </c:ext>
              </c:extLst>
            </c:dLbl>
            <c:dLbl>
              <c:idx val="5"/>
              <c:tx>
                <c:rich>
                  <a:bodyPr/>
                  <a:lstStyle/>
                  <a:p>
                    <a:r>
                      <a:t>542.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46F2-4165-A01A-118AD94CFD94}"/>
                </c:ext>
              </c:extLst>
            </c:dLbl>
            <c:dLbl>
              <c:idx val="6"/>
              <c:tx>
                <c:rich>
                  <a:bodyPr/>
                  <a:lstStyle/>
                  <a:p>
                    <a:r>
                      <a:t>1124.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46F2-4165-A01A-118AD94CFD94}"/>
                </c:ext>
              </c:extLst>
            </c:dLbl>
            <c:dLbl>
              <c:idx val="7"/>
              <c:tx>
                <c:rich>
                  <a:bodyPr/>
                  <a:lstStyle/>
                  <a:p>
                    <a:r>
                      <a:t>991.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46F2-4165-A01A-118AD94CFD9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c:v>
                  </c:pt>
                  <c:pt idx="2">
                    <c:v>Banded Pack</c:v>
                  </c:pt>
                  <c:pt idx="4">
                    <c:v>After Sun</c:v>
                  </c:pt>
                  <c:pt idx="6">
                    <c:v>Tanning</c:v>
                  </c:pt>
                </c:lvl>
              </c:multiLvlStrCache>
            </c:multiLvlStrRef>
          </c:cat>
          <c:val>
            <c:numRef>
              <c:f>Sheet1!$D$2:$D$9</c:f>
              <c:numCache>
                <c:formatCode>General</c:formatCode>
                <c:ptCount val="8"/>
                <c:pt idx="0">
                  <c:v>2435.2701999999999</c:v>
                </c:pt>
                <c:pt idx="1">
                  <c:v>1250.7266999999999</c:v>
                </c:pt>
                <c:pt idx="2">
                  <c:v>5580.9314999999997</c:v>
                </c:pt>
                <c:pt idx="3">
                  <c:v>970.01520000000005</c:v>
                </c:pt>
                <c:pt idx="4">
                  <c:v>575.82299999999998</c:v>
                </c:pt>
                <c:pt idx="5">
                  <c:v>542.03200000000004</c:v>
                </c:pt>
                <c:pt idx="6">
                  <c:v>1124.7554</c:v>
                </c:pt>
                <c:pt idx="7">
                  <c:v>991.9240999999999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17DFB83C-6F7C-4F89-8D60-681568C9E4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E5FBB557-C58B-4CC9-9367-5DAC868F1C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AA2E52D5-6A7A-4CFA-A437-D87359265F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20B5EA99-1E78-48F2-AF87-AE2B1160ED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7C61FFFE-4DFC-480A-85B3-EC1028D974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506385A2-D20B-4D5F-8013-8D4C8A6663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7E00ADCF-646F-4E73-B567-EB41C11C9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6713D53D-EF1C-44C1-83EA-3430F20D8B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721.28530000000001</c:v>
                </c:pt>
                <c:pt idx="1">
                  <c:v>975.346</c:v>
                </c:pt>
                <c:pt idx="2">
                  <c:v>247.04259999999999</c:v>
                </c:pt>
                <c:pt idx="3">
                  <c:v>357.13549999999998</c:v>
                </c:pt>
                <c:pt idx="4">
                  <c:v>605.37639999999999</c:v>
                </c:pt>
                <c:pt idx="5">
                  <c:v>317.80939999999998</c:v>
                </c:pt>
              </c:numCache>
            </c:numRef>
          </c:xVal>
          <c:yVal>
            <c:numRef>
              <c:f>Sheet1!$B$2:$B$7</c:f>
              <c:numCache>
                <c:formatCode>General</c:formatCode>
                <c:ptCount val="6"/>
                <c:pt idx="0">
                  <c:v>1.2629999999999999</c:v>
                </c:pt>
                <c:pt idx="1">
                  <c:v>2.3479999999999999</c:v>
                </c:pt>
                <c:pt idx="2">
                  <c:v>0.29099999999999998</c:v>
                </c:pt>
                <c:pt idx="3">
                  <c:v>1.034</c:v>
                </c:pt>
                <c:pt idx="4">
                  <c:v>2.3410000000000002</c:v>
                </c:pt>
                <c:pt idx="5">
                  <c:v>1.042</c:v>
                </c:pt>
              </c:numCache>
            </c:numRef>
          </c:yVal>
          <c:bubbleSize>
            <c:numRef>
              <c:f>Sheet1!$C$2:$C$7</c:f>
              <c:numCache>
                <c:formatCode>General</c:formatCode>
                <c:ptCount val="6"/>
                <c:pt idx="0">
                  <c:v>24116173</c:v>
                </c:pt>
                <c:pt idx="1">
                  <c:v>4087675</c:v>
                </c:pt>
                <c:pt idx="2">
                  <c:v>3113231</c:v>
                </c:pt>
                <c:pt idx="3">
                  <c:v>2739229</c:v>
                </c:pt>
                <c:pt idx="4">
                  <c:v>2301641</c:v>
                </c:pt>
                <c:pt idx="5">
                  <c:v>1190832</c:v>
                </c:pt>
              </c:numCache>
            </c:numRef>
          </c:bubbleSize>
          <c:bubble3D val="0"/>
          <c:extLst>
            <c:ext xmlns:c15="http://schemas.microsoft.com/office/drawing/2012/chart" uri="{02D57815-91ED-43cb-92C2-25804820EDAC}">
              <c15:datalabelsRange>
                <c15:f>Sheet1!$E$2:$E$10</c15:f>
                <c15:dlblRangeCache>
                  <c:ptCount val="9"/>
                  <c:pt idx="0">
                    <c:v>Photoderm</c:v>
                  </c:pt>
                  <c:pt idx="1">
                    <c:v>La Roche-Posay</c:v>
                  </c:pt>
                  <c:pt idx="2">
                    <c:v>Banana Boat</c:v>
                  </c:pt>
                  <c:pt idx="3">
                    <c:v>Australian Gold</c:v>
                  </c:pt>
                  <c:pt idx="4">
                    <c:v>Genove</c:v>
                  </c:pt>
                  <c:pt idx="5">
                    <c:v>Ocean Potion</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70"/>
          <c:min val="19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8943-45F2-8206-8E91AF6EA39D}"/>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c:v>
                  </c:pt>
                  <c:pt idx="2">
                    <c:v>Banded Pack</c:v>
                  </c:pt>
                  <c:pt idx="4">
                    <c:v>Tanning</c:v>
                  </c:pt>
                  <c:pt idx="6">
                    <c:v>After Sun</c:v>
                  </c:pt>
                </c:lvl>
              </c:multiLvlStrCache>
            </c:multiLvlStrRef>
          </c:cat>
          <c:val>
            <c:numRef>
              <c:f>Sheet1!$C$2:$C$9</c:f>
              <c:numCache>
                <c:formatCode>General</c:formatCode>
                <c:ptCount val="8"/>
                <c:pt idx="0">
                  <c:v>3574.1</c:v>
                </c:pt>
                <c:pt idx="1">
                  <c:v>289.10000000000002</c:v>
                </c:pt>
                <c:pt idx="2">
                  <c:v>62.6</c:v>
                </c:pt>
                <c:pt idx="3">
                  <c:v>0.9</c:v>
                </c:pt>
                <c:pt idx="4">
                  <c:v>46.4</c:v>
                </c:pt>
                <c:pt idx="5">
                  <c:v>4.0999999999999996</c:v>
                </c:pt>
                <c:pt idx="6">
                  <c:v>45.6</c:v>
                </c:pt>
                <c:pt idx="7">
                  <c:v>21.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479.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8943-45F2-8206-8E91AF6EA39D}"/>
                </c:ext>
              </c:extLst>
            </c:dLbl>
            <c:dLbl>
              <c:idx val="1"/>
              <c:tx>
                <c:rich>
                  <a:bodyPr/>
                  <a:lstStyle/>
                  <a:p>
                    <a:r>
                      <a:t>1269.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943-45F2-8206-8E91AF6EA39D}"/>
                </c:ext>
              </c:extLst>
            </c:dLbl>
            <c:dLbl>
              <c:idx val="2"/>
              <c:tx>
                <c:rich>
                  <a:bodyPr/>
                  <a:lstStyle/>
                  <a:p>
                    <a:r>
                      <a:t>6726.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8943-45F2-8206-8E91AF6EA39D}"/>
                </c:ext>
              </c:extLst>
            </c:dLbl>
            <c:dLbl>
              <c:idx val="3"/>
              <c:tx>
                <c:rich>
                  <a:bodyPr/>
                  <a:lstStyle/>
                  <a:p>
                    <a:r>
                      <a:t>1128.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943-45F2-8206-8E91AF6EA39D}"/>
                </c:ext>
              </c:extLst>
            </c:dLbl>
            <c:dLbl>
              <c:idx val="4"/>
              <c:tx>
                <c:rich>
                  <a:bodyPr/>
                  <a:lstStyle/>
                  <a:p>
                    <a:r>
                      <a:t>1150.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8943-45F2-8206-8E91AF6EA39D}"/>
                </c:ext>
              </c:extLst>
            </c:dLbl>
            <c:dLbl>
              <c:idx val="5"/>
              <c:tx>
                <c:rich>
                  <a:bodyPr/>
                  <a:lstStyle/>
                  <a:p>
                    <a:r>
                      <a:t>1002.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943-45F2-8206-8E91AF6EA39D}"/>
                </c:ext>
              </c:extLst>
            </c:dLbl>
            <c:dLbl>
              <c:idx val="6"/>
              <c:tx>
                <c:rich>
                  <a:bodyPr/>
                  <a:lstStyle/>
                  <a:p>
                    <a:r>
                      <a:t>579.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8943-45F2-8206-8E91AF6EA39D}"/>
                </c:ext>
              </c:extLst>
            </c:dLbl>
            <c:dLbl>
              <c:idx val="7"/>
              <c:tx>
                <c:rich>
                  <a:bodyPr/>
                  <a:lstStyle/>
                  <a:p>
                    <a:r>
                      <a:t>543.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943-45F2-8206-8E91AF6EA39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c:v>
                  </c:pt>
                  <c:pt idx="2">
                    <c:v>Banded Pack</c:v>
                  </c:pt>
                  <c:pt idx="4">
                    <c:v>Tanning</c:v>
                  </c:pt>
                  <c:pt idx="6">
                    <c:v>After Sun</c:v>
                  </c:pt>
                </c:lvl>
              </c:multiLvlStrCache>
            </c:multiLvlStrRef>
          </c:cat>
          <c:val>
            <c:numRef>
              <c:f>Sheet1!$D$2:$D$9</c:f>
              <c:numCache>
                <c:formatCode>General</c:formatCode>
                <c:ptCount val="8"/>
                <c:pt idx="0">
                  <c:v>2479.5925999999999</c:v>
                </c:pt>
                <c:pt idx="1">
                  <c:v>1269.7615000000001</c:v>
                </c:pt>
                <c:pt idx="2">
                  <c:v>6726.9660999999996</c:v>
                </c:pt>
                <c:pt idx="3">
                  <c:v>1128.8734999999999</c:v>
                </c:pt>
                <c:pt idx="4">
                  <c:v>1150.0271</c:v>
                </c:pt>
                <c:pt idx="5">
                  <c:v>1002.1772</c:v>
                </c:pt>
                <c:pt idx="6">
                  <c:v>579.65430000000003</c:v>
                </c:pt>
                <c:pt idx="7">
                  <c:v>543.5121000000000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Banana Boat</c:v>
                  </c:pt>
                  <c:pt idx="2">
                    <c:v>Total</c:v>
                  </c:pt>
                  <c:pt idx="3">
                    <c:v>Banana Boat</c:v>
                  </c:pt>
                </c:lvl>
                <c:lvl>
                  <c:pt idx="0">
                    <c:v>Sunscreen</c:v>
                  </c:pt>
                  <c:pt idx="2">
                    <c:v>Banded Pack</c:v>
                  </c:pt>
                </c:lvl>
              </c:multiLvlStrCache>
            </c:multiLvlStrRef>
          </c:cat>
          <c:val>
            <c:numRef>
              <c:f>Sheet1!$C$2:$C$5</c:f>
              <c:numCache>
                <c:formatCode>General</c:formatCode>
                <c:ptCount val="4"/>
                <c:pt idx="0">
                  <c:v>2003.1</c:v>
                </c:pt>
                <c:pt idx="1">
                  <c:v>83.5</c:v>
                </c:pt>
                <c:pt idx="2">
                  <c:v>43.6</c:v>
                </c:pt>
                <c:pt idx="3">
                  <c:v>0.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429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C842-487C-9E57-FBC1023108ED}"/>
                </c:ext>
              </c:extLst>
            </c:dLbl>
            <c:dLbl>
              <c:idx val="1"/>
              <c:tx>
                <c:rich>
                  <a:bodyPr/>
                  <a:lstStyle/>
                  <a:p>
                    <a:r>
                      <a:t>1432.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C842-487C-9E57-FBC1023108ED}"/>
                </c:ext>
              </c:extLst>
            </c:dLbl>
            <c:dLbl>
              <c:idx val="2"/>
              <c:tx>
                <c:rich>
                  <a:bodyPr/>
                  <a:lstStyle/>
                  <a:p>
                    <a:r>
                      <a:t>8097.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C842-487C-9E57-FBC1023108ED}"/>
                </c:ext>
              </c:extLst>
            </c:dLbl>
            <c:dLbl>
              <c:idx val="3"/>
              <c:tx>
                <c:rich>
                  <a:bodyPr/>
                  <a:lstStyle/>
                  <a:p>
                    <a:r>
                      <a:t>1132.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C842-487C-9E57-FBC1023108E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Banana Boat</c:v>
                  </c:pt>
                  <c:pt idx="2">
                    <c:v>Total</c:v>
                  </c:pt>
                  <c:pt idx="3">
                    <c:v>Banana Boat</c:v>
                  </c:pt>
                </c:lvl>
                <c:lvl>
                  <c:pt idx="0">
                    <c:v>Sunscreen</c:v>
                  </c:pt>
                  <c:pt idx="2">
                    <c:v>Banded Pack</c:v>
                  </c:pt>
                </c:lvl>
              </c:multiLvlStrCache>
            </c:multiLvlStrRef>
          </c:cat>
          <c:val>
            <c:numRef>
              <c:f>Sheet1!$D$2:$D$5</c:f>
              <c:numCache>
                <c:formatCode>General</c:formatCode>
                <c:ptCount val="4"/>
                <c:pt idx="0">
                  <c:v>4291.7371000000003</c:v>
                </c:pt>
                <c:pt idx="1">
                  <c:v>1432.4878000000001</c:v>
                </c:pt>
                <c:pt idx="2">
                  <c:v>8097.1406999999999</c:v>
                </c:pt>
                <c:pt idx="3">
                  <c:v>1132.752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Banana Boat</c:v>
                  </c:pt>
                  <c:pt idx="2">
                    <c:v>Total</c:v>
                  </c:pt>
                  <c:pt idx="3">
                    <c:v>Banana Boat</c:v>
                  </c:pt>
                </c:lvl>
                <c:lvl>
                  <c:pt idx="0">
                    <c:v>Sunscreen</c:v>
                  </c:pt>
                  <c:pt idx="2">
                    <c:v>After Sun</c:v>
                  </c:pt>
                </c:lvl>
              </c:multiLvlStrCache>
            </c:multiLvlStrRef>
          </c:cat>
          <c:val>
            <c:numRef>
              <c:f>Sheet1!$C$2:$C$5</c:f>
              <c:numCache>
                <c:formatCode>General</c:formatCode>
                <c:ptCount val="4"/>
                <c:pt idx="0">
                  <c:v>25.1</c:v>
                </c:pt>
                <c:pt idx="1">
                  <c:v>2.1</c:v>
                </c:pt>
                <c:pt idx="2">
                  <c:v>0.4</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37.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BF9D-4BD9-9F24-E14DA60C1645}"/>
                </c:ext>
              </c:extLst>
            </c:dLbl>
            <c:dLbl>
              <c:idx val="1"/>
              <c:tx>
                <c:rich>
                  <a:bodyPr/>
                  <a:lstStyle/>
                  <a:p>
                    <a:r>
                      <a:t>1179.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BF9D-4BD9-9F24-E14DA60C1645}"/>
                </c:ext>
              </c:extLst>
            </c:dLbl>
            <c:dLbl>
              <c:idx val="2"/>
              <c:tx>
                <c:rich>
                  <a:bodyPr/>
                  <a:lstStyle/>
                  <a:p>
                    <a:r>
                      <a:t>572.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BF9D-4BD9-9F24-E14DA60C1645}"/>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BF9D-4BD9-9F24-E14DA60C164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Banana Boat</c:v>
                  </c:pt>
                  <c:pt idx="2">
                    <c:v>Total</c:v>
                  </c:pt>
                  <c:pt idx="3">
                    <c:v>Banana Boat</c:v>
                  </c:pt>
                </c:lvl>
                <c:lvl>
                  <c:pt idx="0">
                    <c:v>Sunscreen</c:v>
                  </c:pt>
                  <c:pt idx="2">
                    <c:v>After Sun</c:v>
                  </c:pt>
                </c:lvl>
              </c:multiLvlStrCache>
            </c:multiLvlStrRef>
          </c:cat>
          <c:val>
            <c:numRef>
              <c:f>Sheet1!$D$2:$D$5</c:f>
              <c:numCache>
                <c:formatCode>General</c:formatCode>
                <c:ptCount val="4"/>
                <c:pt idx="0">
                  <c:v>1337.7391</c:v>
                </c:pt>
                <c:pt idx="1">
                  <c:v>1179.2475999999999</c:v>
                </c:pt>
                <c:pt idx="2">
                  <c:v>572.21349999999995</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8B86-44F4-894E-8326E3F32C48}"/>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c:v>
                  </c:pt>
                  <c:pt idx="2">
                    <c:v>Tanning</c:v>
                  </c:pt>
                  <c:pt idx="4">
                    <c:v>After Sun</c:v>
                  </c:pt>
                  <c:pt idx="6">
                    <c:v>Banded Pack</c:v>
                  </c:pt>
                </c:lvl>
              </c:multiLvlStrCache>
            </c:multiLvlStrRef>
          </c:cat>
          <c:val>
            <c:numRef>
              <c:f>Sheet1!$C$2:$C$9</c:f>
              <c:numCache>
                <c:formatCode>General</c:formatCode>
                <c:ptCount val="8"/>
                <c:pt idx="0">
                  <c:v>1567.1</c:v>
                </c:pt>
                <c:pt idx="1">
                  <c:v>205.3</c:v>
                </c:pt>
                <c:pt idx="2">
                  <c:v>32.5</c:v>
                </c:pt>
                <c:pt idx="3">
                  <c:v>2.8</c:v>
                </c:pt>
                <c:pt idx="4">
                  <c:v>25</c:v>
                </c:pt>
                <c:pt idx="5">
                  <c:v>7.4</c:v>
                </c:pt>
                <c:pt idx="6">
                  <c:v>18.899999999999999</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19.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8B86-44F4-894E-8326E3F32C48}"/>
                </c:ext>
              </c:extLst>
            </c:dLbl>
            <c:dLbl>
              <c:idx val="1"/>
              <c:tx>
                <c:rich>
                  <a:bodyPr/>
                  <a:lstStyle/>
                  <a:p>
                    <a:r>
                      <a:t>1216.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B86-44F4-894E-8326E3F32C48}"/>
                </c:ext>
              </c:extLst>
            </c:dLbl>
            <c:dLbl>
              <c:idx val="2"/>
              <c:tx>
                <c:rich>
                  <a:bodyPr/>
                  <a:lstStyle/>
                  <a:p>
                    <a:r>
                      <a:t>1116.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8B86-44F4-894E-8326E3F32C48}"/>
                </c:ext>
              </c:extLst>
            </c:dLbl>
            <c:dLbl>
              <c:idx val="3"/>
              <c:tx>
                <c:rich>
                  <a:bodyPr/>
                  <a:lstStyle/>
                  <a:p>
                    <a:r>
                      <a:t>93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B86-44F4-894E-8326E3F32C48}"/>
                </c:ext>
              </c:extLst>
            </c:dLbl>
            <c:dLbl>
              <c:idx val="4"/>
              <c:tx>
                <c:rich>
                  <a:bodyPr/>
                  <a:lstStyle/>
                  <a:p>
                    <a:r>
                      <a:t>577.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8B86-44F4-894E-8326E3F32C48}"/>
                </c:ext>
              </c:extLst>
            </c:dLbl>
            <c:dLbl>
              <c:idx val="5"/>
              <c:tx>
                <c:rich>
                  <a:bodyPr/>
                  <a:lstStyle/>
                  <a:p>
                    <a:r>
                      <a:t>439.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B86-44F4-894E-8326E3F32C48}"/>
                </c:ext>
              </c:extLst>
            </c:dLbl>
            <c:dLbl>
              <c:idx val="6"/>
              <c:tx>
                <c:rich>
                  <a:bodyPr/>
                  <a:lstStyle/>
                  <a:p>
                    <a:r>
                      <a:t>4966.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8B86-44F4-894E-8326E3F32C48}"/>
                </c:ext>
              </c:extLst>
            </c:dLbl>
            <c:dLbl>
              <c:idx val="7"/>
              <c:tx>
                <c:rich>
                  <a:bodyPr/>
                  <a:lstStyle/>
                  <a:p>
                    <a:r>
                      <a:t>818.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B86-44F4-894E-8326E3F32C4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c:v>
                  </c:pt>
                  <c:pt idx="2">
                    <c:v>Tanning</c:v>
                  </c:pt>
                  <c:pt idx="4">
                    <c:v>After Sun</c:v>
                  </c:pt>
                  <c:pt idx="6">
                    <c:v>Banded Pack</c:v>
                  </c:pt>
                </c:lvl>
              </c:multiLvlStrCache>
            </c:multiLvlStrRef>
          </c:cat>
          <c:val>
            <c:numRef>
              <c:f>Sheet1!$D$2:$D$9</c:f>
              <c:numCache>
                <c:formatCode>General</c:formatCode>
                <c:ptCount val="8"/>
                <c:pt idx="0">
                  <c:v>1619.4178999999999</c:v>
                </c:pt>
                <c:pt idx="1">
                  <c:v>1216.7598</c:v>
                </c:pt>
                <c:pt idx="2">
                  <c:v>1116.2927</c:v>
                </c:pt>
                <c:pt idx="3">
                  <c:v>932.18669999999997</c:v>
                </c:pt>
                <c:pt idx="4">
                  <c:v>577.77239999999995</c:v>
                </c:pt>
                <c:pt idx="5">
                  <c:v>439.69450000000001</c:v>
                </c:pt>
                <c:pt idx="6">
                  <c:v>4966.2389999999996</c:v>
                </c:pt>
                <c:pt idx="7">
                  <c:v>818.4528000000000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8E9C-4F73-8F3E-2613BDDCF58A}"/>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c:v>
                  </c:pt>
                  <c:pt idx="2">
                    <c:v>Banded Pack</c:v>
                  </c:pt>
                  <c:pt idx="4">
                    <c:v>After Sun</c:v>
                  </c:pt>
                  <c:pt idx="6">
                    <c:v>Tanning</c:v>
                  </c:pt>
                </c:lvl>
              </c:multiLvlStrCache>
            </c:multiLvlStrRef>
          </c:cat>
          <c:val>
            <c:numRef>
              <c:f>Sheet1!$C$2:$C$9</c:f>
              <c:numCache>
                <c:formatCode>General</c:formatCode>
                <c:ptCount val="8"/>
                <c:pt idx="0">
                  <c:v>3929.3</c:v>
                </c:pt>
                <c:pt idx="1">
                  <c:v>13.1</c:v>
                </c:pt>
                <c:pt idx="2">
                  <c:v>64.5</c:v>
                </c:pt>
                <c:pt idx="3">
                  <c:v>0</c:v>
                </c:pt>
                <c:pt idx="4">
                  <c:v>47.9</c:v>
                </c:pt>
                <c:pt idx="5">
                  <c:v>0</c:v>
                </c:pt>
                <c:pt idx="6">
                  <c:v>47.7</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435.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8E9C-4F73-8F3E-2613BDDCF58A}"/>
                </c:ext>
              </c:extLst>
            </c:dLbl>
            <c:dLbl>
              <c:idx val="1"/>
              <c:tx>
                <c:rich>
                  <a:bodyPr/>
                  <a:lstStyle/>
                  <a:p>
                    <a:r>
                      <a:t>392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E9C-4F73-8F3E-2613BDDCF58A}"/>
                </c:ext>
              </c:extLst>
            </c:dLbl>
            <c:dLbl>
              <c:idx val="2"/>
              <c:tx>
                <c:rich>
                  <a:bodyPr/>
                  <a:lstStyle/>
                  <a:p>
                    <a:r>
                      <a:t>558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8E9C-4F73-8F3E-2613BDDCF58A}"/>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E9C-4F73-8F3E-2613BDDCF58A}"/>
                </c:ext>
              </c:extLst>
            </c:dLbl>
            <c:dLbl>
              <c:idx val="4"/>
              <c:tx>
                <c:rich>
                  <a:bodyPr/>
                  <a:lstStyle/>
                  <a:p>
                    <a:r>
                      <a:t>575.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8E9C-4F73-8F3E-2613BDDCF58A}"/>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E9C-4F73-8F3E-2613BDDCF58A}"/>
                </c:ext>
              </c:extLst>
            </c:dLbl>
            <c:dLbl>
              <c:idx val="6"/>
              <c:tx>
                <c:rich>
                  <a:bodyPr/>
                  <a:lstStyle/>
                  <a:p>
                    <a:r>
                      <a:t>1124.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8E9C-4F73-8F3E-2613BDDCF58A}"/>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E9C-4F73-8F3E-2613BDDCF58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c:v>
                  </c:pt>
                  <c:pt idx="2">
                    <c:v>Banded Pack</c:v>
                  </c:pt>
                  <c:pt idx="4">
                    <c:v>After Sun</c:v>
                  </c:pt>
                  <c:pt idx="6">
                    <c:v>Tanning</c:v>
                  </c:pt>
                </c:lvl>
              </c:multiLvlStrCache>
            </c:multiLvlStrRef>
          </c:cat>
          <c:val>
            <c:numRef>
              <c:f>Sheet1!$D$2:$D$9</c:f>
              <c:numCache>
                <c:formatCode>General</c:formatCode>
                <c:ptCount val="8"/>
                <c:pt idx="0">
                  <c:v>2435.2701999999999</c:v>
                </c:pt>
                <c:pt idx="1">
                  <c:v>3923.2984000000001</c:v>
                </c:pt>
                <c:pt idx="2">
                  <c:v>5580.9314999999997</c:v>
                </c:pt>
                <c:pt idx="3">
                  <c:v>0</c:v>
                </c:pt>
                <c:pt idx="4">
                  <c:v>575.82299999999998</c:v>
                </c:pt>
                <c:pt idx="5">
                  <c:v>0</c:v>
                </c:pt>
                <c:pt idx="6">
                  <c:v>1124.7554</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CEFE-49CF-93C8-05776A0E3C34}"/>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c:v>
                  </c:pt>
                  <c:pt idx="2">
                    <c:v>Banded Pack</c:v>
                  </c:pt>
                  <c:pt idx="4">
                    <c:v>Tanning</c:v>
                  </c:pt>
                  <c:pt idx="6">
                    <c:v>After Sun</c:v>
                  </c:pt>
                </c:lvl>
              </c:multiLvlStrCache>
            </c:multiLvlStrRef>
          </c:cat>
          <c:val>
            <c:numRef>
              <c:f>Sheet1!$C$2:$C$9</c:f>
              <c:numCache>
                <c:formatCode>General</c:formatCode>
                <c:ptCount val="8"/>
                <c:pt idx="0">
                  <c:v>3574.1</c:v>
                </c:pt>
                <c:pt idx="1">
                  <c:v>13</c:v>
                </c:pt>
                <c:pt idx="2">
                  <c:v>62.6</c:v>
                </c:pt>
                <c:pt idx="3">
                  <c:v>0</c:v>
                </c:pt>
                <c:pt idx="4">
                  <c:v>46.4</c:v>
                </c:pt>
                <c:pt idx="5">
                  <c:v>0</c:v>
                </c:pt>
                <c:pt idx="6">
                  <c:v>45.6</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479.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CEFE-49CF-93C8-05776A0E3C34}"/>
                </c:ext>
              </c:extLst>
            </c:dLbl>
            <c:dLbl>
              <c:idx val="1"/>
              <c:tx>
                <c:rich>
                  <a:bodyPr/>
                  <a:lstStyle/>
                  <a:p>
                    <a:r>
                      <a:t>4126.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CEFE-49CF-93C8-05776A0E3C34}"/>
                </c:ext>
              </c:extLst>
            </c:dLbl>
            <c:dLbl>
              <c:idx val="2"/>
              <c:tx>
                <c:rich>
                  <a:bodyPr/>
                  <a:lstStyle/>
                  <a:p>
                    <a:r>
                      <a:t>6726.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CEFE-49CF-93C8-05776A0E3C34}"/>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CEFE-49CF-93C8-05776A0E3C34}"/>
                </c:ext>
              </c:extLst>
            </c:dLbl>
            <c:dLbl>
              <c:idx val="4"/>
              <c:tx>
                <c:rich>
                  <a:bodyPr/>
                  <a:lstStyle/>
                  <a:p>
                    <a:r>
                      <a:t>1150.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CEFE-49CF-93C8-05776A0E3C34}"/>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CEFE-49CF-93C8-05776A0E3C34}"/>
                </c:ext>
              </c:extLst>
            </c:dLbl>
            <c:dLbl>
              <c:idx val="6"/>
              <c:tx>
                <c:rich>
                  <a:bodyPr/>
                  <a:lstStyle/>
                  <a:p>
                    <a:r>
                      <a:t>579.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CEFE-49CF-93C8-05776A0E3C34}"/>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CEFE-49CF-93C8-05776A0E3C3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c:v>
                  </c:pt>
                  <c:pt idx="2">
                    <c:v>Banded Pack</c:v>
                  </c:pt>
                  <c:pt idx="4">
                    <c:v>Tanning</c:v>
                  </c:pt>
                  <c:pt idx="6">
                    <c:v>After Sun</c:v>
                  </c:pt>
                </c:lvl>
              </c:multiLvlStrCache>
            </c:multiLvlStrRef>
          </c:cat>
          <c:val>
            <c:numRef>
              <c:f>Sheet1!$D$2:$D$9</c:f>
              <c:numCache>
                <c:formatCode>General</c:formatCode>
                <c:ptCount val="8"/>
                <c:pt idx="0">
                  <c:v>2479.5925999999999</c:v>
                </c:pt>
                <c:pt idx="1">
                  <c:v>4126.1409999999996</c:v>
                </c:pt>
                <c:pt idx="2">
                  <c:v>6726.9660999999996</c:v>
                </c:pt>
                <c:pt idx="3">
                  <c:v>0</c:v>
                </c:pt>
                <c:pt idx="4">
                  <c:v>1150.0271</c:v>
                </c:pt>
                <c:pt idx="5">
                  <c:v>0</c:v>
                </c:pt>
                <c:pt idx="6">
                  <c:v>579.65430000000003</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Beauty Care</c:v>
                  </c:pt>
                  <c:pt idx="2">
                    <c:v>Total</c:v>
                  </c:pt>
                  <c:pt idx="3">
                    <c:v>Beauty Care</c:v>
                  </c:pt>
                </c:lvl>
                <c:lvl>
                  <c:pt idx="0">
                    <c:v>Sunscreen</c:v>
                  </c:pt>
                  <c:pt idx="2">
                    <c:v>Banded Pack</c:v>
                  </c:pt>
                </c:lvl>
              </c:multiLvlStrCache>
            </c:multiLvlStrRef>
          </c:cat>
          <c:val>
            <c:numRef>
              <c:f>Sheet1!$C$2:$C$5</c:f>
              <c:numCache>
                <c:formatCode>General</c:formatCode>
                <c:ptCount val="4"/>
                <c:pt idx="0">
                  <c:v>2003.1</c:v>
                </c:pt>
                <c:pt idx="1">
                  <c:v>0.5</c:v>
                </c:pt>
                <c:pt idx="2">
                  <c:v>43.6</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429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EF17-4465-890B-D247A2C35CB1}"/>
                </c:ext>
              </c:extLst>
            </c:dLbl>
            <c:dLbl>
              <c:idx val="1"/>
              <c:tx>
                <c:rich>
                  <a:bodyPr/>
                  <a:lstStyle/>
                  <a:p>
                    <a:r>
                      <a:t>11522.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EF17-4465-890B-D247A2C35CB1}"/>
                </c:ext>
              </c:extLst>
            </c:dLbl>
            <c:dLbl>
              <c:idx val="2"/>
              <c:tx>
                <c:rich>
                  <a:bodyPr/>
                  <a:lstStyle/>
                  <a:p>
                    <a:r>
                      <a:t>8097.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EF17-4465-890B-D247A2C35CB1}"/>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EF17-4465-890B-D247A2C35CB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Beauty Care</c:v>
                  </c:pt>
                  <c:pt idx="2">
                    <c:v>Total</c:v>
                  </c:pt>
                  <c:pt idx="3">
                    <c:v>Beauty Care</c:v>
                  </c:pt>
                </c:lvl>
                <c:lvl>
                  <c:pt idx="0">
                    <c:v>Sunscreen</c:v>
                  </c:pt>
                  <c:pt idx="2">
                    <c:v>Banded Pack</c:v>
                  </c:pt>
                </c:lvl>
              </c:multiLvlStrCache>
            </c:multiLvlStrRef>
          </c:cat>
          <c:val>
            <c:numRef>
              <c:f>Sheet1!$D$2:$D$5</c:f>
              <c:numCache>
                <c:formatCode>General</c:formatCode>
                <c:ptCount val="4"/>
                <c:pt idx="0">
                  <c:v>4291.7371000000003</c:v>
                </c:pt>
                <c:pt idx="1">
                  <c:v>11522.434800000001</c:v>
                </c:pt>
                <c:pt idx="2">
                  <c:v>8097.1406999999999</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Beauty Care</c:v>
                  </c:pt>
                  <c:pt idx="2">
                    <c:v>Total</c:v>
                  </c:pt>
                  <c:pt idx="3">
                    <c:v>Beauty Care</c:v>
                  </c:pt>
                </c:lvl>
                <c:lvl>
                  <c:pt idx="0">
                    <c:v>Sunscreen</c:v>
                  </c:pt>
                  <c:pt idx="2">
                    <c:v>After Sun</c:v>
                  </c:pt>
                </c:lvl>
              </c:multiLvlStrCache>
            </c:multiLvlStrRef>
          </c:cat>
          <c:val>
            <c:numRef>
              <c:f>Sheet1!$C$2:$C$5</c:f>
              <c:numCache>
                <c:formatCode>General</c:formatCode>
                <c:ptCount val="4"/>
                <c:pt idx="0">
                  <c:v>25.1</c:v>
                </c:pt>
                <c:pt idx="1">
                  <c:v>0</c:v>
                </c:pt>
                <c:pt idx="2">
                  <c:v>0.4</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37.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869F-458D-AFD8-17A1E924F795}"/>
                </c:ext>
              </c:extLst>
            </c:dLbl>
            <c:dLbl>
              <c:idx val="1"/>
              <c:tx>
                <c:rich>
                  <a:bodyPr/>
                  <a:lstStyle/>
                  <a:p>
                    <a:r>
                      <a:t>1715.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69F-458D-AFD8-17A1E924F795}"/>
                </c:ext>
              </c:extLst>
            </c:dLbl>
            <c:dLbl>
              <c:idx val="2"/>
              <c:tx>
                <c:rich>
                  <a:bodyPr/>
                  <a:lstStyle/>
                  <a:p>
                    <a:r>
                      <a:t>572.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869F-458D-AFD8-17A1E924F795}"/>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69F-458D-AFD8-17A1E924F79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Beauty Care</c:v>
                  </c:pt>
                  <c:pt idx="2">
                    <c:v>Total</c:v>
                  </c:pt>
                  <c:pt idx="3">
                    <c:v>Beauty Care</c:v>
                  </c:pt>
                </c:lvl>
                <c:lvl>
                  <c:pt idx="0">
                    <c:v>Sunscreen</c:v>
                  </c:pt>
                  <c:pt idx="2">
                    <c:v>After Sun</c:v>
                  </c:pt>
                </c:lvl>
              </c:multiLvlStrCache>
            </c:multiLvlStrRef>
          </c:cat>
          <c:val>
            <c:numRef>
              <c:f>Sheet1!$D$2:$D$5</c:f>
              <c:numCache>
                <c:formatCode>General</c:formatCode>
                <c:ptCount val="4"/>
                <c:pt idx="0">
                  <c:v>1337.7391</c:v>
                </c:pt>
                <c:pt idx="1">
                  <c:v>1715.6667</c:v>
                </c:pt>
                <c:pt idx="2">
                  <c:v>572.21349999999995</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08E1-439C-8164-9FDAEE75240B}"/>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c:v>
                  </c:pt>
                  <c:pt idx="2">
                    <c:v>Tanning</c:v>
                  </c:pt>
                  <c:pt idx="4">
                    <c:v>After Sun</c:v>
                  </c:pt>
                  <c:pt idx="6">
                    <c:v>Banded Pack</c:v>
                  </c:pt>
                </c:lvl>
              </c:multiLvlStrCache>
            </c:multiLvlStrRef>
          </c:cat>
          <c:val>
            <c:numRef>
              <c:f>Sheet1!$C$2:$C$9</c:f>
              <c:numCache>
                <c:formatCode>General</c:formatCode>
                <c:ptCount val="8"/>
                <c:pt idx="0">
                  <c:v>1567.1</c:v>
                </c:pt>
                <c:pt idx="1">
                  <c:v>12.5</c:v>
                </c:pt>
                <c:pt idx="2">
                  <c:v>32.5</c:v>
                </c:pt>
                <c:pt idx="3">
                  <c:v>0</c:v>
                </c:pt>
                <c:pt idx="4">
                  <c:v>25</c:v>
                </c:pt>
                <c:pt idx="5">
                  <c:v>0</c:v>
                </c:pt>
                <c:pt idx="6">
                  <c:v>18.899999999999999</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19.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08E1-439C-8164-9FDAEE75240B}"/>
                </c:ext>
              </c:extLst>
            </c:dLbl>
            <c:dLbl>
              <c:idx val="1"/>
              <c:tx>
                <c:rich>
                  <a:bodyPr/>
                  <a:lstStyle/>
                  <a:p>
                    <a:r>
                      <a:t>4025.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08E1-439C-8164-9FDAEE75240B}"/>
                </c:ext>
              </c:extLst>
            </c:dLbl>
            <c:dLbl>
              <c:idx val="2"/>
              <c:tx>
                <c:rich>
                  <a:bodyPr/>
                  <a:lstStyle/>
                  <a:p>
                    <a:r>
                      <a:t>1116.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08E1-439C-8164-9FDAEE75240B}"/>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08E1-439C-8164-9FDAEE75240B}"/>
                </c:ext>
              </c:extLst>
            </c:dLbl>
            <c:dLbl>
              <c:idx val="4"/>
              <c:tx>
                <c:rich>
                  <a:bodyPr/>
                  <a:lstStyle/>
                  <a:p>
                    <a:r>
                      <a:t>577.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08E1-439C-8164-9FDAEE75240B}"/>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08E1-439C-8164-9FDAEE75240B}"/>
                </c:ext>
              </c:extLst>
            </c:dLbl>
            <c:dLbl>
              <c:idx val="6"/>
              <c:tx>
                <c:rich>
                  <a:bodyPr/>
                  <a:lstStyle/>
                  <a:p>
                    <a:r>
                      <a:t>4966.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08E1-439C-8164-9FDAEE75240B}"/>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08E1-439C-8164-9FDAEE75240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c:v>
                  </c:pt>
                  <c:pt idx="2">
                    <c:v>Tanning</c:v>
                  </c:pt>
                  <c:pt idx="4">
                    <c:v>After Sun</c:v>
                  </c:pt>
                  <c:pt idx="6">
                    <c:v>Banded Pack</c:v>
                  </c:pt>
                </c:lvl>
              </c:multiLvlStrCache>
            </c:multiLvlStrRef>
          </c:cat>
          <c:val>
            <c:numRef>
              <c:f>Sheet1!$D$2:$D$9</c:f>
              <c:numCache>
                <c:formatCode>General</c:formatCode>
                <c:ptCount val="8"/>
                <c:pt idx="0">
                  <c:v>1619.4178999999999</c:v>
                </c:pt>
                <c:pt idx="1">
                  <c:v>4025.5318000000002</c:v>
                </c:pt>
                <c:pt idx="2">
                  <c:v>1116.2927</c:v>
                </c:pt>
                <c:pt idx="3">
                  <c:v>0</c:v>
                </c:pt>
                <c:pt idx="4">
                  <c:v>577.77239999999995</c:v>
                </c:pt>
                <c:pt idx="5">
                  <c:v>0</c:v>
                </c:pt>
                <c:pt idx="6">
                  <c:v>4966.2389999999996</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2A64-4DA4-9E05-09A945FE611F}"/>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2A64-4DA4-9E05-09A945FE611F}"/>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rema</c:v>
                  </c:pt>
                  <c:pt idx="2">
                    <c:v>Sunscreen Liquido</c:v>
                  </c:pt>
                  <c:pt idx="4">
                    <c:v>Sunscreen Gel</c:v>
                  </c:pt>
                  <c:pt idx="6">
                    <c:v>Sunscreen Fluido</c:v>
                  </c:pt>
                  <c:pt idx="8">
                    <c:v>Sunscreen Locion</c:v>
                  </c:pt>
                </c:lvl>
              </c:multiLvlStrCache>
            </c:multiLvlStrRef>
          </c:cat>
          <c:val>
            <c:numRef>
              <c:f>Sheet1!$C$2:$C$11</c:f>
              <c:numCache>
                <c:formatCode>General</c:formatCode>
                <c:ptCount val="10"/>
                <c:pt idx="0">
                  <c:v>1907.3</c:v>
                </c:pt>
                <c:pt idx="1">
                  <c:v>103.1</c:v>
                </c:pt>
                <c:pt idx="2">
                  <c:v>825.5</c:v>
                </c:pt>
                <c:pt idx="3">
                  <c:v>245.9</c:v>
                </c:pt>
                <c:pt idx="4">
                  <c:v>447.2</c:v>
                </c:pt>
                <c:pt idx="5">
                  <c:v>0</c:v>
                </c:pt>
                <c:pt idx="6">
                  <c:v>393.9</c:v>
                </c:pt>
                <c:pt idx="7">
                  <c:v>0</c:v>
                </c:pt>
                <c:pt idx="8">
                  <c:v>121.7</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480.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A64-4DA4-9E05-09A945FE611F}"/>
                </c:ext>
              </c:extLst>
            </c:dLbl>
            <c:dLbl>
              <c:idx val="1"/>
              <c:tx>
                <c:rich>
                  <a:bodyPr/>
                  <a:lstStyle/>
                  <a:p>
                    <a:r>
                      <a:t>1156.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A64-4DA4-9E05-09A945FE611F}"/>
                </c:ext>
              </c:extLst>
            </c:dLbl>
            <c:dLbl>
              <c:idx val="2"/>
              <c:tx>
                <c:rich>
                  <a:bodyPr/>
                  <a:lstStyle/>
                  <a:p>
                    <a:r>
                      <a:t>1533.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A64-4DA4-9E05-09A945FE611F}"/>
                </c:ext>
              </c:extLst>
            </c:dLbl>
            <c:dLbl>
              <c:idx val="3"/>
              <c:tx>
                <c:rich>
                  <a:bodyPr/>
                  <a:lstStyle/>
                  <a:p>
                    <a:r>
                      <a:t>1240.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A64-4DA4-9E05-09A945FE611F}"/>
                </c:ext>
              </c:extLst>
            </c:dLbl>
            <c:dLbl>
              <c:idx val="4"/>
              <c:tx>
                <c:rich>
                  <a:bodyPr/>
                  <a:lstStyle/>
                  <a:p>
                    <a:r>
                      <a:t>3000.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2A64-4DA4-9E05-09A945FE611F}"/>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2A64-4DA4-9E05-09A945FE611F}"/>
                </c:ext>
              </c:extLst>
            </c:dLbl>
            <c:dLbl>
              <c:idx val="6"/>
              <c:tx>
                <c:rich>
                  <a:bodyPr/>
                  <a:lstStyle/>
                  <a:p>
                    <a:r>
                      <a:t>12486.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2A64-4DA4-9E05-09A945FE611F}"/>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2A64-4DA4-9E05-09A945FE611F}"/>
                </c:ext>
              </c:extLst>
            </c:dLbl>
            <c:dLbl>
              <c:idx val="8"/>
              <c:tx>
                <c:rich>
                  <a:bodyPr/>
                  <a:lstStyle/>
                  <a:p>
                    <a:r>
                      <a:t>158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2A64-4DA4-9E05-09A945FE611F}"/>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2A64-4DA4-9E05-09A945FE611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rema</c:v>
                  </c:pt>
                  <c:pt idx="2">
                    <c:v>Sunscreen Liquido</c:v>
                  </c:pt>
                  <c:pt idx="4">
                    <c:v>Sunscreen Gel</c:v>
                  </c:pt>
                  <c:pt idx="6">
                    <c:v>Sunscreen Fluido</c:v>
                  </c:pt>
                  <c:pt idx="8">
                    <c:v>Sunscreen Locion</c:v>
                  </c:pt>
                </c:lvl>
              </c:multiLvlStrCache>
            </c:multiLvlStrRef>
          </c:cat>
          <c:val>
            <c:numRef>
              <c:f>Sheet1!$D$2:$D$11</c:f>
              <c:numCache>
                <c:formatCode>General</c:formatCode>
                <c:ptCount val="10"/>
                <c:pt idx="0">
                  <c:v>2480.8530999999998</c:v>
                </c:pt>
                <c:pt idx="1">
                  <c:v>1156.164</c:v>
                </c:pt>
                <c:pt idx="2">
                  <c:v>1533.6077</c:v>
                </c:pt>
                <c:pt idx="3">
                  <c:v>1240.519</c:v>
                </c:pt>
                <c:pt idx="4">
                  <c:v>3000.1498000000001</c:v>
                </c:pt>
                <c:pt idx="5">
                  <c:v>0</c:v>
                </c:pt>
                <c:pt idx="6">
                  <c:v>12486.0093</c:v>
                </c:pt>
                <c:pt idx="7">
                  <c:v>0</c:v>
                </c:pt>
                <c:pt idx="8">
                  <c:v>1589.2047</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708904BE-3198-4E5A-AB96-D759F451DE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30A9FB01-2A9E-4301-9420-28D6F82F49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9952D295-9C66-4EDF-9624-2D1EE5EAFB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B99A5A06-190C-47B4-B5F1-0BD759F9EA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F35D505F-85ED-4B04-99F8-B003B784F5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0E183373-2DF3-4000-886B-345D078D5E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7025DD88-E5AF-480C-B8A8-18F35CBE2E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0E5BFEAA-6AF6-4CBB-AB80-15D56B9579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475.40699999999998</c:v>
                </c:pt>
                <c:pt idx="1">
                  <c:v>550.43579999999997</c:v>
                </c:pt>
                <c:pt idx="2">
                  <c:v>350.09210000000002</c:v>
                </c:pt>
              </c:numCache>
            </c:numRef>
          </c:xVal>
          <c:yVal>
            <c:numRef>
              <c:f>Sheet1!$B$2:$B$4</c:f>
              <c:numCache>
                <c:formatCode>General</c:formatCode>
                <c:ptCount val="3"/>
                <c:pt idx="0">
                  <c:v>1.603</c:v>
                </c:pt>
                <c:pt idx="1">
                  <c:v>0.74299999999999999</c:v>
                </c:pt>
                <c:pt idx="2">
                  <c:v>0.28499999999999998</c:v>
                </c:pt>
              </c:numCache>
            </c:numRef>
          </c:yVal>
          <c:bubbleSize>
            <c:numRef>
              <c:f>Sheet1!$C$2:$C$4</c:f>
              <c:numCache>
                <c:formatCode>General</c:formatCode>
                <c:ptCount val="3"/>
                <c:pt idx="0">
                  <c:v>36576861</c:v>
                </c:pt>
                <c:pt idx="1">
                  <c:v>12639657</c:v>
                </c:pt>
                <c:pt idx="2">
                  <c:v>2161819</c:v>
                </c:pt>
              </c:numCache>
            </c:numRef>
          </c:bubbleSize>
          <c:bubble3D val="0"/>
          <c:extLst>
            <c:ext xmlns:c15="http://schemas.microsoft.com/office/drawing/2012/chart" uri="{02D57815-91ED-43cb-92C2-25804820EDAC}">
              <c15:datalabelsRange>
                <c15:f>Sheet1!$E$2:$E$10</c15:f>
                <c15:dlblRangeCache>
                  <c:ptCount val="9"/>
                  <c:pt idx="0">
                    <c:v>Isdin</c:v>
                  </c:pt>
                  <c:pt idx="1">
                    <c:v>Heliocare</c:v>
                  </c:pt>
                  <c:pt idx="2">
                    <c:v>Neutrogena</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1"/>
          <c:min val="28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2264-4BBB-A4CA-A530891FA5F9}"/>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2264-4BBB-A4CA-A530891FA5F9}"/>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rema</c:v>
                  </c:pt>
                  <c:pt idx="2">
                    <c:v>Sunscreen Liquido</c:v>
                  </c:pt>
                  <c:pt idx="4">
                    <c:v>Sunscreen Gel</c:v>
                  </c:pt>
                  <c:pt idx="6">
                    <c:v>Sunscreen Fluido</c:v>
                  </c:pt>
                  <c:pt idx="8">
                    <c:v>Sunscreen Locion</c:v>
                  </c:pt>
                </c:lvl>
              </c:multiLvlStrCache>
            </c:multiLvlStrRef>
          </c:cat>
          <c:val>
            <c:numRef>
              <c:f>Sheet1!$C$2:$C$11</c:f>
              <c:numCache>
                <c:formatCode>General</c:formatCode>
                <c:ptCount val="10"/>
                <c:pt idx="0">
                  <c:v>1694.9</c:v>
                </c:pt>
                <c:pt idx="1">
                  <c:v>100.2</c:v>
                </c:pt>
                <c:pt idx="2">
                  <c:v>770.8</c:v>
                </c:pt>
                <c:pt idx="3">
                  <c:v>238</c:v>
                </c:pt>
                <c:pt idx="4">
                  <c:v>413.8</c:v>
                </c:pt>
                <c:pt idx="5">
                  <c:v>0</c:v>
                </c:pt>
                <c:pt idx="6">
                  <c:v>350.8</c:v>
                </c:pt>
                <c:pt idx="7">
                  <c:v>0</c:v>
                </c:pt>
                <c:pt idx="8">
                  <c:v>116.7</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56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264-4BBB-A4CA-A530891FA5F9}"/>
                </c:ext>
              </c:extLst>
            </c:dLbl>
            <c:dLbl>
              <c:idx val="1"/>
              <c:tx>
                <c:rich>
                  <a:bodyPr/>
                  <a:lstStyle/>
                  <a:p>
                    <a:r>
                      <a:t>1168.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264-4BBB-A4CA-A530891FA5F9}"/>
                </c:ext>
              </c:extLst>
            </c:dLbl>
            <c:dLbl>
              <c:idx val="2"/>
              <c:tx>
                <c:rich>
                  <a:bodyPr/>
                  <a:lstStyle/>
                  <a:p>
                    <a:r>
                      <a:t>1552.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264-4BBB-A4CA-A530891FA5F9}"/>
                </c:ext>
              </c:extLst>
            </c:dLbl>
            <c:dLbl>
              <c:idx val="3"/>
              <c:tx>
                <c:rich>
                  <a:bodyPr/>
                  <a:lstStyle/>
                  <a:p>
                    <a:r>
                      <a:t>125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264-4BBB-A4CA-A530891FA5F9}"/>
                </c:ext>
              </c:extLst>
            </c:dLbl>
            <c:dLbl>
              <c:idx val="4"/>
              <c:tx>
                <c:rich>
                  <a:bodyPr/>
                  <a:lstStyle/>
                  <a:p>
                    <a:r>
                      <a:t>2980.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2264-4BBB-A4CA-A530891FA5F9}"/>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2264-4BBB-A4CA-A530891FA5F9}"/>
                </c:ext>
              </c:extLst>
            </c:dLbl>
            <c:dLbl>
              <c:idx val="6"/>
              <c:tx>
                <c:rich>
                  <a:bodyPr/>
                  <a:lstStyle/>
                  <a:p>
                    <a:r>
                      <a:t>12934.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2264-4BBB-A4CA-A530891FA5F9}"/>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2264-4BBB-A4CA-A530891FA5F9}"/>
                </c:ext>
              </c:extLst>
            </c:dLbl>
            <c:dLbl>
              <c:idx val="8"/>
              <c:tx>
                <c:rich>
                  <a:bodyPr/>
                  <a:lstStyle/>
                  <a:p>
                    <a:r>
                      <a:t>1626.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2264-4BBB-A4CA-A530891FA5F9}"/>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2264-4BBB-A4CA-A530891FA5F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rema</c:v>
                  </c:pt>
                  <c:pt idx="2">
                    <c:v>Sunscreen Liquido</c:v>
                  </c:pt>
                  <c:pt idx="4">
                    <c:v>Sunscreen Gel</c:v>
                  </c:pt>
                  <c:pt idx="6">
                    <c:v>Sunscreen Fluido</c:v>
                  </c:pt>
                  <c:pt idx="8">
                    <c:v>Sunscreen Locion</c:v>
                  </c:pt>
                </c:lvl>
              </c:multiLvlStrCache>
            </c:multiLvlStrRef>
          </c:cat>
          <c:val>
            <c:numRef>
              <c:f>Sheet1!$D$2:$D$11</c:f>
              <c:numCache>
                <c:formatCode>General</c:formatCode>
                <c:ptCount val="10"/>
                <c:pt idx="0">
                  <c:v>2560.0007000000001</c:v>
                </c:pt>
                <c:pt idx="1">
                  <c:v>1168.9454000000001</c:v>
                </c:pt>
                <c:pt idx="2">
                  <c:v>1552.5425</c:v>
                </c:pt>
                <c:pt idx="3">
                  <c:v>1253.8046999999999</c:v>
                </c:pt>
                <c:pt idx="4">
                  <c:v>2980.4443000000001</c:v>
                </c:pt>
                <c:pt idx="5">
                  <c:v>0</c:v>
                </c:pt>
                <c:pt idx="6">
                  <c:v>12934.4946</c:v>
                </c:pt>
                <c:pt idx="7">
                  <c:v>0</c:v>
                </c:pt>
                <c:pt idx="8">
                  <c:v>1626.7792999999999</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942D-469B-8129-AA54D1D2FC8D}"/>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942D-469B-8129-AA54D1D2FC8D}"/>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rema</c:v>
                  </c:pt>
                  <c:pt idx="2">
                    <c:v>Sunscreen Fluido</c:v>
                  </c:pt>
                  <c:pt idx="4">
                    <c:v>Sunscreen Gel</c:v>
                  </c:pt>
                  <c:pt idx="6">
                    <c:v>Sunscreen Liquido</c:v>
                  </c:pt>
                  <c:pt idx="8">
                    <c:v>Sunscreen Aceite</c:v>
                  </c:pt>
                </c:lvl>
              </c:multiLvlStrCache>
            </c:multiLvlStrRef>
          </c:cat>
          <c:val>
            <c:numRef>
              <c:f>Sheet1!$C$2:$C$11</c:f>
              <c:numCache>
                <c:formatCode>General</c:formatCode>
                <c:ptCount val="10"/>
                <c:pt idx="0">
                  <c:v>936.4</c:v>
                </c:pt>
                <c:pt idx="1">
                  <c:v>27.4</c:v>
                </c:pt>
                <c:pt idx="2">
                  <c:v>294</c:v>
                </c:pt>
                <c:pt idx="3">
                  <c:v>0</c:v>
                </c:pt>
                <c:pt idx="4">
                  <c:v>283.89999999999998</c:v>
                </c:pt>
                <c:pt idx="5">
                  <c:v>0</c:v>
                </c:pt>
                <c:pt idx="6">
                  <c:v>276.5</c:v>
                </c:pt>
                <c:pt idx="7">
                  <c:v>63.7</c:v>
                </c:pt>
                <c:pt idx="8">
                  <c:v>52.2</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4768.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942D-469B-8129-AA54D1D2FC8D}"/>
                </c:ext>
              </c:extLst>
            </c:dLbl>
            <c:dLbl>
              <c:idx val="1"/>
              <c:tx>
                <c:rich>
                  <a:bodyPr/>
                  <a:lstStyle/>
                  <a:p>
                    <a:r>
                      <a:t>1198.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42D-469B-8129-AA54D1D2FC8D}"/>
                </c:ext>
              </c:extLst>
            </c:dLbl>
            <c:dLbl>
              <c:idx val="2"/>
              <c:tx>
                <c:rich>
                  <a:bodyPr/>
                  <a:lstStyle/>
                  <a:p>
                    <a:r>
                      <a:t>13698.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942D-469B-8129-AA54D1D2FC8D}"/>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42D-469B-8129-AA54D1D2FC8D}"/>
                </c:ext>
              </c:extLst>
            </c:dLbl>
            <c:dLbl>
              <c:idx val="4"/>
              <c:tx>
                <c:rich>
                  <a:bodyPr/>
                  <a:lstStyle/>
                  <a:p>
                    <a:r>
                      <a:t>4428.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942D-469B-8129-AA54D1D2FC8D}"/>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42D-469B-8129-AA54D1D2FC8D}"/>
                </c:ext>
              </c:extLst>
            </c:dLbl>
            <c:dLbl>
              <c:idx val="6"/>
              <c:tx>
                <c:rich>
                  <a:bodyPr/>
                  <a:lstStyle/>
                  <a:p>
                    <a:r>
                      <a:t>1990.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942D-469B-8129-AA54D1D2FC8D}"/>
                </c:ext>
              </c:extLst>
            </c:dLbl>
            <c:dLbl>
              <c:idx val="7"/>
              <c:tx>
                <c:rich>
                  <a:bodyPr/>
                  <a:lstStyle/>
                  <a:p>
                    <a:r>
                      <a:t>1321.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42D-469B-8129-AA54D1D2FC8D}"/>
                </c:ext>
              </c:extLst>
            </c:dLbl>
            <c:dLbl>
              <c:idx val="8"/>
              <c:tx>
                <c:rich>
                  <a:bodyPr/>
                  <a:lstStyle/>
                  <a:p>
                    <a:r>
                      <a:t>4403.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942D-469B-8129-AA54D1D2FC8D}"/>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42D-469B-8129-AA54D1D2FC8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rema</c:v>
                  </c:pt>
                  <c:pt idx="2">
                    <c:v>Sunscreen Fluido</c:v>
                  </c:pt>
                  <c:pt idx="4">
                    <c:v>Sunscreen Gel</c:v>
                  </c:pt>
                  <c:pt idx="6">
                    <c:v>Sunscreen Liquido</c:v>
                  </c:pt>
                  <c:pt idx="8">
                    <c:v>Sunscreen Aceite</c:v>
                  </c:pt>
                </c:lvl>
              </c:multiLvlStrCache>
            </c:multiLvlStrRef>
          </c:cat>
          <c:val>
            <c:numRef>
              <c:f>Sheet1!$D$2:$D$11</c:f>
              <c:numCache>
                <c:formatCode>General</c:formatCode>
                <c:ptCount val="10"/>
                <c:pt idx="0">
                  <c:v>4768.9269000000004</c:v>
                </c:pt>
                <c:pt idx="1">
                  <c:v>1198.2664</c:v>
                </c:pt>
                <c:pt idx="2">
                  <c:v>13698.9069</c:v>
                </c:pt>
                <c:pt idx="3">
                  <c:v>0</c:v>
                </c:pt>
                <c:pt idx="4">
                  <c:v>4428.4740000000002</c:v>
                </c:pt>
                <c:pt idx="5">
                  <c:v>0</c:v>
                </c:pt>
                <c:pt idx="6">
                  <c:v>1990.7431999999999</c:v>
                </c:pt>
                <c:pt idx="7">
                  <c:v>1321.5664999999999</c:v>
                </c:pt>
                <c:pt idx="8">
                  <c:v>4403.4684999999999</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23B4-48D0-9CA4-4FDA63BD3CDE}"/>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23B4-48D0-9CA4-4FDA63BD3CDE}"/>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rema</c:v>
                  </c:pt>
                  <c:pt idx="2">
                    <c:v>Sunscreen Liquido</c:v>
                  </c:pt>
                  <c:pt idx="4">
                    <c:v>Sunscreen Gel</c:v>
                  </c:pt>
                  <c:pt idx="6">
                    <c:v>Sunscreen Locion</c:v>
                  </c:pt>
                  <c:pt idx="8">
                    <c:v>Sunscreen Spray</c:v>
                  </c:pt>
                </c:lvl>
              </c:multiLvlStrCache>
            </c:multiLvlStrRef>
          </c:cat>
          <c:val>
            <c:numRef>
              <c:f>Sheet1!$C$2:$C$11</c:f>
              <c:numCache>
                <c:formatCode>General</c:formatCode>
                <c:ptCount val="10"/>
                <c:pt idx="0">
                  <c:v>16.399999999999999</c:v>
                </c:pt>
                <c:pt idx="1">
                  <c:v>0.4</c:v>
                </c:pt>
                <c:pt idx="2">
                  <c:v>5.4</c:v>
                </c:pt>
                <c:pt idx="3">
                  <c:v>0.6</c:v>
                </c:pt>
                <c:pt idx="4">
                  <c:v>1.9</c:v>
                </c:pt>
                <c:pt idx="5">
                  <c:v>0</c:v>
                </c:pt>
                <c:pt idx="6">
                  <c:v>0.6</c:v>
                </c:pt>
                <c:pt idx="7">
                  <c:v>0</c:v>
                </c:pt>
                <c:pt idx="8">
                  <c:v>0.4</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80.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3B4-48D0-9CA4-4FDA63BD3CDE}"/>
                </c:ext>
              </c:extLst>
            </c:dLbl>
            <c:dLbl>
              <c:idx val="1"/>
              <c:tx>
                <c:rich>
                  <a:bodyPr/>
                  <a:lstStyle/>
                  <a:p>
                    <a:r>
                      <a:t>984.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3B4-48D0-9CA4-4FDA63BD3CDE}"/>
                </c:ext>
              </c:extLst>
            </c:dLbl>
            <c:dLbl>
              <c:idx val="2"/>
              <c:tx>
                <c:rich>
                  <a:bodyPr/>
                  <a:lstStyle/>
                  <a:p>
                    <a:r>
                      <a:t>1349.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3B4-48D0-9CA4-4FDA63BD3CDE}"/>
                </c:ext>
              </c:extLst>
            </c:dLbl>
            <c:dLbl>
              <c:idx val="3"/>
              <c:tx>
                <c:rich>
                  <a:bodyPr/>
                  <a:lstStyle/>
                  <a:p>
                    <a:r>
                      <a:t>1144.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3B4-48D0-9CA4-4FDA63BD3CDE}"/>
                </c:ext>
              </c:extLst>
            </c:dLbl>
            <c:dLbl>
              <c:idx val="4"/>
              <c:tx>
                <c:rich>
                  <a:bodyPr/>
                  <a:lstStyle/>
                  <a:p>
                    <a:r>
                      <a:t>1844.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23B4-48D0-9CA4-4FDA63BD3CDE}"/>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23B4-48D0-9CA4-4FDA63BD3CDE}"/>
                </c:ext>
              </c:extLst>
            </c:dLbl>
            <c:dLbl>
              <c:idx val="6"/>
              <c:tx>
                <c:rich>
                  <a:bodyPr/>
                  <a:lstStyle/>
                  <a:p>
                    <a:r>
                      <a:t>1505.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23B4-48D0-9CA4-4FDA63BD3CDE}"/>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23B4-48D0-9CA4-4FDA63BD3CDE}"/>
                </c:ext>
              </c:extLst>
            </c:dLbl>
            <c:dLbl>
              <c:idx val="8"/>
              <c:tx>
                <c:rich>
                  <a:bodyPr/>
                  <a:lstStyle/>
                  <a:p>
                    <a:r>
                      <a:t>791.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23B4-48D0-9CA4-4FDA63BD3CDE}"/>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23B4-48D0-9CA4-4FDA63BD3CD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rema</c:v>
                  </c:pt>
                  <c:pt idx="2">
                    <c:v>Sunscreen Liquido</c:v>
                  </c:pt>
                  <c:pt idx="4">
                    <c:v>Sunscreen Gel</c:v>
                  </c:pt>
                  <c:pt idx="6">
                    <c:v>Sunscreen Locion</c:v>
                  </c:pt>
                  <c:pt idx="8">
                    <c:v>Sunscreen Spray</c:v>
                  </c:pt>
                </c:lvl>
              </c:multiLvlStrCache>
            </c:multiLvlStrRef>
          </c:cat>
          <c:val>
            <c:numRef>
              <c:f>Sheet1!$D$2:$D$11</c:f>
              <c:numCache>
                <c:formatCode>General</c:formatCode>
                <c:ptCount val="10"/>
                <c:pt idx="0">
                  <c:v>1280.4523999999999</c:v>
                </c:pt>
                <c:pt idx="1">
                  <c:v>984.64499999999998</c:v>
                </c:pt>
                <c:pt idx="2">
                  <c:v>1349.3814</c:v>
                </c:pt>
                <c:pt idx="3">
                  <c:v>1144.134</c:v>
                </c:pt>
                <c:pt idx="4">
                  <c:v>1844.4857999999999</c:v>
                </c:pt>
                <c:pt idx="5">
                  <c:v>0</c:v>
                </c:pt>
                <c:pt idx="6">
                  <c:v>1505.8407999999999</c:v>
                </c:pt>
                <c:pt idx="7">
                  <c:v>0</c:v>
                </c:pt>
                <c:pt idx="8">
                  <c:v>791.62879999999996</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D8EE-4B87-9A04-EC0EE9C2BB36}"/>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D8EE-4B87-9A04-EC0EE9C2BB36}"/>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rema</c:v>
                  </c:pt>
                  <c:pt idx="2">
                    <c:v>Sunscreen Liquido</c:v>
                  </c:pt>
                  <c:pt idx="4">
                    <c:v>Sunscreen Gel</c:v>
                  </c:pt>
                  <c:pt idx="6">
                    <c:v>Sunscreen Locion</c:v>
                  </c:pt>
                  <c:pt idx="8">
                    <c:v>Sunscreen Fluido</c:v>
                  </c:pt>
                </c:lvl>
              </c:multiLvlStrCache>
            </c:multiLvlStrRef>
          </c:cat>
          <c:val>
            <c:numRef>
              <c:f>Sheet1!$C$2:$C$11</c:f>
              <c:numCache>
                <c:formatCode>General</c:formatCode>
                <c:ptCount val="10"/>
                <c:pt idx="0">
                  <c:v>756.8</c:v>
                </c:pt>
                <c:pt idx="1">
                  <c:v>72.7</c:v>
                </c:pt>
                <c:pt idx="2">
                  <c:v>492.3</c:v>
                </c:pt>
                <c:pt idx="3">
                  <c:v>173.8</c:v>
                </c:pt>
                <c:pt idx="4">
                  <c:v>129.80000000000001</c:v>
                </c:pt>
                <c:pt idx="5">
                  <c:v>0</c:v>
                </c:pt>
                <c:pt idx="6">
                  <c:v>76.599999999999994</c:v>
                </c:pt>
                <c:pt idx="7">
                  <c:v>0</c:v>
                </c:pt>
                <c:pt idx="8">
                  <c:v>56.8</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36.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D8EE-4B87-9A04-EC0EE9C2BB36}"/>
                </c:ext>
              </c:extLst>
            </c:dLbl>
            <c:dLbl>
              <c:idx val="1"/>
              <c:tx>
                <c:rich>
                  <a:bodyPr/>
                  <a:lstStyle/>
                  <a:p>
                    <a:r>
                      <a:t>1159.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D8EE-4B87-9A04-EC0EE9C2BB36}"/>
                </c:ext>
              </c:extLst>
            </c:dLbl>
            <c:dLbl>
              <c:idx val="2"/>
              <c:tx>
                <c:rich>
                  <a:bodyPr/>
                  <a:lstStyle/>
                  <a:p>
                    <a:r>
                      <a:t>1386.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D8EE-4B87-9A04-EC0EE9C2BB36}"/>
                </c:ext>
              </c:extLst>
            </c:dLbl>
            <c:dLbl>
              <c:idx val="3"/>
              <c:tx>
                <c:rich>
                  <a:bodyPr/>
                  <a:lstStyle/>
                  <a:p>
                    <a:r>
                      <a:t>1233.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D8EE-4B87-9A04-EC0EE9C2BB36}"/>
                </c:ext>
              </c:extLst>
            </c:dLbl>
            <c:dLbl>
              <c:idx val="4"/>
              <c:tx>
                <c:rich>
                  <a:bodyPr/>
                  <a:lstStyle/>
                  <a:p>
                    <a:r>
                      <a:t>1742.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D8EE-4B87-9A04-EC0EE9C2BB36}"/>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D8EE-4B87-9A04-EC0EE9C2BB36}"/>
                </c:ext>
              </c:extLst>
            </c:dLbl>
            <c:dLbl>
              <c:idx val="6"/>
              <c:tx>
                <c:rich>
                  <a:bodyPr/>
                  <a:lstStyle/>
                  <a:p>
                    <a:r>
                      <a:t>1480.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D8EE-4B87-9A04-EC0EE9C2BB36}"/>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D8EE-4B87-9A04-EC0EE9C2BB36}"/>
                </c:ext>
              </c:extLst>
            </c:dLbl>
            <c:dLbl>
              <c:idx val="8"/>
              <c:tx>
                <c:rich>
                  <a:bodyPr/>
                  <a:lstStyle/>
                  <a:p>
                    <a:r>
                      <a:t>10910.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D8EE-4B87-9A04-EC0EE9C2BB36}"/>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D8EE-4B87-9A04-EC0EE9C2BB3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rema</c:v>
                  </c:pt>
                  <c:pt idx="2">
                    <c:v>Sunscreen Liquido</c:v>
                  </c:pt>
                  <c:pt idx="4">
                    <c:v>Sunscreen Gel</c:v>
                  </c:pt>
                  <c:pt idx="6">
                    <c:v>Sunscreen Locion</c:v>
                  </c:pt>
                  <c:pt idx="8">
                    <c:v>Sunscreen Fluido</c:v>
                  </c:pt>
                </c:lvl>
              </c:multiLvlStrCache>
            </c:multiLvlStrRef>
          </c:cat>
          <c:val>
            <c:numRef>
              <c:f>Sheet1!$D$2:$D$11</c:f>
              <c:numCache>
                <c:formatCode>General</c:formatCode>
                <c:ptCount val="10"/>
                <c:pt idx="0">
                  <c:v>1636.5192</c:v>
                </c:pt>
                <c:pt idx="1">
                  <c:v>1159.9918</c:v>
                </c:pt>
                <c:pt idx="2">
                  <c:v>1386.2406000000001</c:v>
                </c:pt>
                <c:pt idx="3">
                  <c:v>1233.4291000000001</c:v>
                </c:pt>
                <c:pt idx="4">
                  <c:v>1742.9694</c:v>
                </c:pt>
                <c:pt idx="5">
                  <c:v>0</c:v>
                </c:pt>
                <c:pt idx="6">
                  <c:v>1480.8145</c:v>
                </c:pt>
                <c:pt idx="7">
                  <c:v>0</c:v>
                </c:pt>
                <c:pt idx="8">
                  <c:v>10910.92120000000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050D-45E9-B0AA-31DBB30ADD84}"/>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050D-45E9-B0AA-31DBB30ADD84}"/>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rema</c:v>
                  </c:pt>
                  <c:pt idx="2">
                    <c:v>Sunscreen Liquido</c:v>
                  </c:pt>
                  <c:pt idx="4">
                    <c:v>Sunscreen Gel</c:v>
                  </c:pt>
                  <c:pt idx="6">
                    <c:v>Sunscreen Fluido</c:v>
                  </c:pt>
                  <c:pt idx="8">
                    <c:v>Sunscreen Locion</c:v>
                  </c:pt>
                </c:lvl>
              </c:multiLvlStrCache>
            </c:multiLvlStrRef>
          </c:cat>
          <c:val>
            <c:numRef>
              <c:f>Sheet1!$C$2:$C$11</c:f>
              <c:numCache>
                <c:formatCode>General</c:formatCode>
                <c:ptCount val="10"/>
                <c:pt idx="0">
                  <c:v>1907.3</c:v>
                </c:pt>
                <c:pt idx="1">
                  <c:v>95.7</c:v>
                </c:pt>
                <c:pt idx="2">
                  <c:v>825.5</c:v>
                </c:pt>
                <c:pt idx="3">
                  <c:v>103.3</c:v>
                </c:pt>
                <c:pt idx="4">
                  <c:v>447.2</c:v>
                </c:pt>
                <c:pt idx="5">
                  <c:v>0</c:v>
                </c:pt>
                <c:pt idx="6">
                  <c:v>393.9</c:v>
                </c:pt>
                <c:pt idx="7">
                  <c:v>0.7</c:v>
                </c:pt>
                <c:pt idx="8">
                  <c:v>121.7</c:v>
                </c:pt>
                <c:pt idx="9">
                  <c:v>96.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480.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050D-45E9-B0AA-31DBB30ADD84}"/>
                </c:ext>
              </c:extLst>
            </c:dLbl>
            <c:dLbl>
              <c:idx val="1"/>
              <c:tx>
                <c:rich>
                  <a:bodyPr/>
                  <a:lstStyle/>
                  <a:p>
                    <a:r>
                      <a:t>1090.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050D-45E9-B0AA-31DBB30ADD84}"/>
                </c:ext>
              </c:extLst>
            </c:dLbl>
            <c:dLbl>
              <c:idx val="2"/>
              <c:tx>
                <c:rich>
                  <a:bodyPr/>
                  <a:lstStyle/>
                  <a:p>
                    <a:r>
                      <a:t>1533.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050D-45E9-B0AA-31DBB30ADD84}"/>
                </c:ext>
              </c:extLst>
            </c:dLbl>
            <c:dLbl>
              <c:idx val="3"/>
              <c:tx>
                <c:rich>
                  <a:bodyPr/>
                  <a:lstStyle/>
                  <a:p>
                    <a:r>
                      <a:t>1276.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050D-45E9-B0AA-31DBB30ADD84}"/>
                </c:ext>
              </c:extLst>
            </c:dLbl>
            <c:dLbl>
              <c:idx val="4"/>
              <c:tx>
                <c:rich>
                  <a:bodyPr/>
                  <a:lstStyle/>
                  <a:p>
                    <a:r>
                      <a:t>3000.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050D-45E9-B0AA-31DBB30ADD84}"/>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050D-45E9-B0AA-31DBB30ADD84}"/>
                </c:ext>
              </c:extLst>
            </c:dLbl>
            <c:dLbl>
              <c:idx val="6"/>
              <c:tx>
                <c:rich>
                  <a:bodyPr/>
                  <a:lstStyle/>
                  <a:p>
                    <a:r>
                      <a:t>12486.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050D-45E9-B0AA-31DBB30ADD84}"/>
                </c:ext>
              </c:extLst>
            </c:dLbl>
            <c:dLbl>
              <c:idx val="7"/>
              <c:tx>
                <c:rich>
                  <a:bodyPr/>
                  <a:lstStyle/>
                  <a:p>
                    <a:r>
                      <a:t>5581.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050D-45E9-B0AA-31DBB30ADD84}"/>
                </c:ext>
              </c:extLst>
            </c:dLbl>
            <c:dLbl>
              <c:idx val="8"/>
              <c:tx>
                <c:rich>
                  <a:bodyPr/>
                  <a:lstStyle/>
                  <a:p>
                    <a:r>
                      <a:t>158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050D-45E9-B0AA-31DBB30ADD84}"/>
                </c:ext>
              </c:extLst>
            </c:dLbl>
            <c:dLbl>
              <c:idx val="9"/>
              <c:tx>
                <c:rich>
                  <a:bodyPr/>
                  <a:lstStyle/>
                  <a:p>
                    <a:r>
                      <a:t>1443.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050D-45E9-B0AA-31DBB30ADD8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rema</c:v>
                  </c:pt>
                  <c:pt idx="2">
                    <c:v>Sunscreen Liquido</c:v>
                  </c:pt>
                  <c:pt idx="4">
                    <c:v>Sunscreen Gel</c:v>
                  </c:pt>
                  <c:pt idx="6">
                    <c:v>Sunscreen Fluido</c:v>
                  </c:pt>
                  <c:pt idx="8">
                    <c:v>Sunscreen Locion</c:v>
                  </c:pt>
                </c:lvl>
              </c:multiLvlStrCache>
            </c:multiLvlStrRef>
          </c:cat>
          <c:val>
            <c:numRef>
              <c:f>Sheet1!$D$2:$D$11</c:f>
              <c:numCache>
                <c:formatCode>General</c:formatCode>
                <c:ptCount val="10"/>
                <c:pt idx="0">
                  <c:v>2480.8530999999998</c:v>
                </c:pt>
                <c:pt idx="1">
                  <c:v>1090.9659999999999</c:v>
                </c:pt>
                <c:pt idx="2">
                  <c:v>1533.6077</c:v>
                </c:pt>
                <c:pt idx="3">
                  <c:v>1276.7673</c:v>
                </c:pt>
                <c:pt idx="4">
                  <c:v>3000.1498000000001</c:v>
                </c:pt>
                <c:pt idx="5">
                  <c:v>0</c:v>
                </c:pt>
                <c:pt idx="6">
                  <c:v>12486.0093</c:v>
                </c:pt>
                <c:pt idx="7">
                  <c:v>5581.5780999999997</c:v>
                </c:pt>
                <c:pt idx="8">
                  <c:v>1589.2047</c:v>
                </c:pt>
                <c:pt idx="9">
                  <c:v>1443.2366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E5D5-4D43-B67A-654E5664FC63}"/>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E5D5-4D43-B67A-654E5664FC63}"/>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rema</c:v>
                  </c:pt>
                  <c:pt idx="2">
                    <c:v>Sunscreen Liquido</c:v>
                  </c:pt>
                  <c:pt idx="4">
                    <c:v>Sunscreen Gel</c:v>
                  </c:pt>
                  <c:pt idx="6">
                    <c:v>Sunscreen Fluido</c:v>
                  </c:pt>
                  <c:pt idx="8">
                    <c:v>Sunscreen Locion</c:v>
                  </c:pt>
                </c:lvl>
              </c:multiLvlStrCache>
            </c:multiLvlStrRef>
          </c:cat>
          <c:val>
            <c:numRef>
              <c:f>Sheet1!$C$2:$C$11</c:f>
              <c:numCache>
                <c:formatCode>General</c:formatCode>
                <c:ptCount val="10"/>
                <c:pt idx="0">
                  <c:v>1694.9</c:v>
                </c:pt>
                <c:pt idx="1">
                  <c:v>90</c:v>
                </c:pt>
                <c:pt idx="2">
                  <c:v>770.8</c:v>
                </c:pt>
                <c:pt idx="3">
                  <c:v>99.4</c:v>
                </c:pt>
                <c:pt idx="4">
                  <c:v>413.8</c:v>
                </c:pt>
                <c:pt idx="5">
                  <c:v>0</c:v>
                </c:pt>
                <c:pt idx="6">
                  <c:v>350.8</c:v>
                </c:pt>
                <c:pt idx="7">
                  <c:v>0.7</c:v>
                </c:pt>
                <c:pt idx="8">
                  <c:v>116.7</c:v>
                </c:pt>
                <c:pt idx="9">
                  <c:v>92.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56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E5D5-4D43-B67A-654E5664FC63}"/>
                </c:ext>
              </c:extLst>
            </c:dLbl>
            <c:dLbl>
              <c:idx val="1"/>
              <c:tx>
                <c:rich>
                  <a:bodyPr/>
                  <a:lstStyle/>
                  <a:p>
                    <a:r>
                      <a:t>1107.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E5D5-4D43-B67A-654E5664FC63}"/>
                </c:ext>
              </c:extLst>
            </c:dLbl>
            <c:dLbl>
              <c:idx val="2"/>
              <c:tx>
                <c:rich>
                  <a:bodyPr/>
                  <a:lstStyle/>
                  <a:p>
                    <a:r>
                      <a:t>1552.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E5D5-4D43-B67A-654E5664FC63}"/>
                </c:ext>
              </c:extLst>
            </c:dLbl>
            <c:dLbl>
              <c:idx val="3"/>
              <c:tx>
                <c:rich>
                  <a:bodyPr/>
                  <a:lstStyle/>
                  <a:p>
                    <a:r>
                      <a:t>1296.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E5D5-4D43-B67A-654E5664FC63}"/>
                </c:ext>
              </c:extLst>
            </c:dLbl>
            <c:dLbl>
              <c:idx val="4"/>
              <c:tx>
                <c:rich>
                  <a:bodyPr/>
                  <a:lstStyle/>
                  <a:p>
                    <a:r>
                      <a:t>2980.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E5D5-4D43-B67A-654E5664FC63}"/>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E5D5-4D43-B67A-654E5664FC63}"/>
                </c:ext>
              </c:extLst>
            </c:dLbl>
            <c:dLbl>
              <c:idx val="6"/>
              <c:tx>
                <c:rich>
                  <a:bodyPr/>
                  <a:lstStyle/>
                  <a:p>
                    <a:r>
                      <a:t>12934.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E5D5-4D43-B67A-654E5664FC63}"/>
                </c:ext>
              </c:extLst>
            </c:dLbl>
            <c:dLbl>
              <c:idx val="7"/>
              <c:tx>
                <c:rich>
                  <a:bodyPr/>
                  <a:lstStyle/>
                  <a:p>
                    <a:r>
                      <a:t>5904.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E5D5-4D43-B67A-654E5664FC63}"/>
                </c:ext>
              </c:extLst>
            </c:dLbl>
            <c:dLbl>
              <c:idx val="8"/>
              <c:tx>
                <c:rich>
                  <a:bodyPr/>
                  <a:lstStyle/>
                  <a:p>
                    <a:r>
                      <a:t>1626.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E5D5-4D43-B67A-654E5664FC63}"/>
                </c:ext>
              </c:extLst>
            </c:dLbl>
            <c:dLbl>
              <c:idx val="9"/>
              <c:tx>
                <c:rich>
                  <a:bodyPr/>
                  <a:lstStyle/>
                  <a:p>
                    <a:r>
                      <a:t>1459.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E5D5-4D43-B67A-654E5664FC6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rema</c:v>
                  </c:pt>
                  <c:pt idx="2">
                    <c:v>Sunscreen Liquido</c:v>
                  </c:pt>
                  <c:pt idx="4">
                    <c:v>Sunscreen Gel</c:v>
                  </c:pt>
                  <c:pt idx="6">
                    <c:v>Sunscreen Fluido</c:v>
                  </c:pt>
                  <c:pt idx="8">
                    <c:v>Sunscreen Locion</c:v>
                  </c:pt>
                </c:lvl>
              </c:multiLvlStrCache>
            </c:multiLvlStrRef>
          </c:cat>
          <c:val>
            <c:numRef>
              <c:f>Sheet1!$D$2:$D$11</c:f>
              <c:numCache>
                <c:formatCode>General</c:formatCode>
                <c:ptCount val="10"/>
                <c:pt idx="0">
                  <c:v>2560.0007000000001</c:v>
                </c:pt>
                <c:pt idx="1">
                  <c:v>1107.3108</c:v>
                </c:pt>
                <c:pt idx="2">
                  <c:v>1552.5425</c:v>
                </c:pt>
                <c:pt idx="3">
                  <c:v>1296.1889000000001</c:v>
                </c:pt>
                <c:pt idx="4">
                  <c:v>2980.4443000000001</c:v>
                </c:pt>
                <c:pt idx="5">
                  <c:v>0</c:v>
                </c:pt>
                <c:pt idx="6">
                  <c:v>12934.4946</c:v>
                </c:pt>
                <c:pt idx="7">
                  <c:v>5904.0496000000003</c:v>
                </c:pt>
                <c:pt idx="8">
                  <c:v>1626.7792999999999</c:v>
                </c:pt>
                <c:pt idx="9">
                  <c:v>1459.644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C76B-419E-94CF-BAE04176B4F0}"/>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C76B-419E-94CF-BAE04176B4F0}"/>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rema</c:v>
                  </c:pt>
                  <c:pt idx="2">
                    <c:v>Sunscreen Fluido</c:v>
                  </c:pt>
                  <c:pt idx="4">
                    <c:v>Sunscreen Gel</c:v>
                  </c:pt>
                  <c:pt idx="6">
                    <c:v>Sunscreen Liquido</c:v>
                  </c:pt>
                  <c:pt idx="8">
                    <c:v>Sunscreen Aceite</c:v>
                  </c:pt>
                </c:lvl>
              </c:multiLvlStrCache>
            </c:multiLvlStrRef>
          </c:cat>
          <c:val>
            <c:numRef>
              <c:f>Sheet1!$C$2:$C$11</c:f>
              <c:numCache>
                <c:formatCode>General</c:formatCode>
                <c:ptCount val="10"/>
                <c:pt idx="0">
                  <c:v>936.4</c:v>
                </c:pt>
                <c:pt idx="1">
                  <c:v>23.6</c:v>
                </c:pt>
                <c:pt idx="2">
                  <c:v>294</c:v>
                </c:pt>
                <c:pt idx="3">
                  <c:v>0</c:v>
                </c:pt>
                <c:pt idx="4">
                  <c:v>283.89999999999998</c:v>
                </c:pt>
                <c:pt idx="5">
                  <c:v>0</c:v>
                </c:pt>
                <c:pt idx="6">
                  <c:v>276.5</c:v>
                </c:pt>
                <c:pt idx="7">
                  <c:v>35.299999999999997</c:v>
                </c:pt>
                <c:pt idx="8">
                  <c:v>52.2</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4768.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C76B-419E-94CF-BAE04176B4F0}"/>
                </c:ext>
              </c:extLst>
            </c:dLbl>
            <c:dLbl>
              <c:idx val="1"/>
              <c:tx>
                <c:rich>
                  <a:bodyPr/>
                  <a:lstStyle/>
                  <a:p>
                    <a:r>
                      <a:t>1282.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C76B-419E-94CF-BAE04176B4F0}"/>
                </c:ext>
              </c:extLst>
            </c:dLbl>
            <c:dLbl>
              <c:idx val="2"/>
              <c:tx>
                <c:rich>
                  <a:bodyPr/>
                  <a:lstStyle/>
                  <a:p>
                    <a:r>
                      <a:t>13698.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C76B-419E-94CF-BAE04176B4F0}"/>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C76B-419E-94CF-BAE04176B4F0}"/>
                </c:ext>
              </c:extLst>
            </c:dLbl>
            <c:dLbl>
              <c:idx val="4"/>
              <c:tx>
                <c:rich>
                  <a:bodyPr/>
                  <a:lstStyle/>
                  <a:p>
                    <a:r>
                      <a:t>4428.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C76B-419E-94CF-BAE04176B4F0}"/>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C76B-419E-94CF-BAE04176B4F0}"/>
                </c:ext>
              </c:extLst>
            </c:dLbl>
            <c:dLbl>
              <c:idx val="6"/>
              <c:tx>
                <c:rich>
                  <a:bodyPr/>
                  <a:lstStyle/>
                  <a:p>
                    <a:r>
                      <a:t>1990.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C76B-419E-94CF-BAE04176B4F0}"/>
                </c:ext>
              </c:extLst>
            </c:dLbl>
            <c:dLbl>
              <c:idx val="7"/>
              <c:tx>
                <c:rich>
                  <a:bodyPr/>
                  <a:lstStyle/>
                  <a:p>
                    <a:r>
                      <a:t>1399.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C76B-419E-94CF-BAE04176B4F0}"/>
                </c:ext>
              </c:extLst>
            </c:dLbl>
            <c:dLbl>
              <c:idx val="8"/>
              <c:tx>
                <c:rich>
                  <a:bodyPr/>
                  <a:lstStyle/>
                  <a:p>
                    <a:r>
                      <a:t>4403.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C76B-419E-94CF-BAE04176B4F0}"/>
                </c:ext>
              </c:extLst>
            </c:dLbl>
            <c:dLbl>
              <c:idx val="9"/>
              <c:tx>
                <c:rich>
                  <a:bodyPr/>
                  <a:lstStyle/>
                  <a:p>
                    <a:r>
                      <a:t>4352.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C76B-419E-94CF-BAE04176B4F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rema</c:v>
                  </c:pt>
                  <c:pt idx="2">
                    <c:v>Sunscreen Fluido</c:v>
                  </c:pt>
                  <c:pt idx="4">
                    <c:v>Sunscreen Gel</c:v>
                  </c:pt>
                  <c:pt idx="6">
                    <c:v>Sunscreen Liquido</c:v>
                  </c:pt>
                  <c:pt idx="8">
                    <c:v>Sunscreen Aceite</c:v>
                  </c:pt>
                </c:lvl>
              </c:multiLvlStrCache>
            </c:multiLvlStrRef>
          </c:cat>
          <c:val>
            <c:numRef>
              <c:f>Sheet1!$D$2:$D$11</c:f>
              <c:numCache>
                <c:formatCode>General</c:formatCode>
                <c:ptCount val="10"/>
                <c:pt idx="0">
                  <c:v>4768.9269000000004</c:v>
                </c:pt>
                <c:pt idx="1">
                  <c:v>1282.7746</c:v>
                </c:pt>
                <c:pt idx="2">
                  <c:v>13698.9069</c:v>
                </c:pt>
                <c:pt idx="3">
                  <c:v>0</c:v>
                </c:pt>
                <c:pt idx="4">
                  <c:v>4428.4740000000002</c:v>
                </c:pt>
                <c:pt idx="5">
                  <c:v>0</c:v>
                </c:pt>
                <c:pt idx="6">
                  <c:v>1990.7431999999999</c:v>
                </c:pt>
                <c:pt idx="7">
                  <c:v>1399.6856</c:v>
                </c:pt>
                <c:pt idx="8">
                  <c:v>4403.4684999999999</c:v>
                </c:pt>
                <c:pt idx="9">
                  <c:v>435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D445-47A6-8C3A-4156C633CA12}"/>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D445-47A6-8C3A-4156C633CA12}"/>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rema</c:v>
                  </c:pt>
                  <c:pt idx="2">
                    <c:v>Sunscreen Liquido</c:v>
                  </c:pt>
                  <c:pt idx="4">
                    <c:v>Sunscreen Gel</c:v>
                  </c:pt>
                  <c:pt idx="6">
                    <c:v>Sunscreen Locion</c:v>
                  </c:pt>
                  <c:pt idx="8">
                    <c:v>Sunscreen Spray</c:v>
                  </c:pt>
                </c:lvl>
              </c:multiLvlStrCache>
            </c:multiLvlStrRef>
          </c:cat>
          <c:val>
            <c:numRef>
              <c:f>Sheet1!$C$2:$C$11</c:f>
              <c:numCache>
                <c:formatCode>General</c:formatCode>
                <c:ptCount val="10"/>
                <c:pt idx="0">
                  <c:v>16.399999999999999</c:v>
                </c:pt>
                <c:pt idx="1">
                  <c:v>1.2</c:v>
                </c:pt>
                <c:pt idx="2">
                  <c:v>5.4</c:v>
                </c:pt>
                <c:pt idx="3">
                  <c:v>0.4</c:v>
                </c:pt>
                <c:pt idx="4">
                  <c:v>1.9</c:v>
                </c:pt>
                <c:pt idx="5">
                  <c:v>0</c:v>
                </c:pt>
                <c:pt idx="6">
                  <c:v>0.6</c:v>
                </c:pt>
                <c:pt idx="7">
                  <c:v>0.5</c:v>
                </c:pt>
                <c:pt idx="8">
                  <c:v>0.4</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80.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D445-47A6-8C3A-4156C633CA12}"/>
                </c:ext>
              </c:extLst>
            </c:dLbl>
            <c:dLbl>
              <c:idx val="1"/>
              <c:tx>
                <c:rich>
                  <a:bodyPr/>
                  <a:lstStyle/>
                  <a:p>
                    <a:r>
                      <a:t>1037.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D445-47A6-8C3A-4156C633CA12}"/>
                </c:ext>
              </c:extLst>
            </c:dLbl>
            <c:dLbl>
              <c:idx val="2"/>
              <c:tx>
                <c:rich>
                  <a:bodyPr/>
                  <a:lstStyle/>
                  <a:p>
                    <a:r>
                      <a:t>1349.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D445-47A6-8C3A-4156C633CA12}"/>
                </c:ext>
              </c:extLst>
            </c:dLbl>
            <c:dLbl>
              <c:idx val="3"/>
              <c:tx>
                <c:rich>
                  <a:bodyPr/>
                  <a:lstStyle/>
                  <a:p>
                    <a:r>
                      <a:t>126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D445-47A6-8C3A-4156C633CA12}"/>
                </c:ext>
              </c:extLst>
            </c:dLbl>
            <c:dLbl>
              <c:idx val="4"/>
              <c:tx>
                <c:rich>
                  <a:bodyPr/>
                  <a:lstStyle/>
                  <a:p>
                    <a:r>
                      <a:t>1844.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D445-47A6-8C3A-4156C633CA12}"/>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D445-47A6-8C3A-4156C633CA12}"/>
                </c:ext>
              </c:extLst>
            </c:dLbl>
            <c:dLbl>
              <c:idx val="6"/>
              <c:tx>
                <c:rich>
                  <a:bodyPr/>
                  <a:lstStyle/>
                  <a:p>
                    <a:r>
                      <a:t>1505.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D445-47A6-8C3A-4156C633CA12}"/>
                </c:ext>
              </c:extLst>
            </c:dLbl>
            <c:dLbl>
              <c:idx val="7"/>
              <c:tx>
                <c:rich>
                  <a:bodyPr/>
                  <a:lstStyle/>
                  <a:p>
                    <a:r>
                      <a:t>1632.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D445-47A6-8C3A-4156C633CA12}"/>
                </c:ext>
              </c:extLst>
            </c:dLbl>
            <c:dLbl>
              <c:idx val="8"/>
              <c:tx>
                <c:rich>
                  <a:bodyPr/>
                  <a:lstStyle/>
                  <a:p>
                    <a:r>
                      <a:t>791.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D445-47A6-8C3A-4156C633CA12}"/>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D445-47A6-8C3A-4156C633CA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rema</c:v>
                  </c:pt>
                  <c:pt idx="2">
                    <c:v>Sunscreen Liquido</c:v>
                  </c:pt>
                  <c:pt idx="4">
                    <c:v>Sunscreen Gel</c:v>
                  </c:pt>
                  <c:pt idx="6">
                    <c:v>Sunscreen Locion</c:v>
                  </c:pt>
                  <c:pt idx="8">
                    <c:v>Sunscreen Spray</c:v>
                  </c:pt>
                </c:lvl>
              </c:multiLvlStrCache>
            </c:multiLvlStrRef>
          </c:cat>
          <c:val>
            <c:numRef>
              <c:f>Sheet1!$D$2:$D$11</c:f>
              <c:numCache>
                <c:formatCode>General</c:formatCode>
                <c:ptCount val="10"/>
                <c:pt idx="0">
                  <c:v>1280.4523999999999</c:v>
                </c:pt>
                <c:pt idx="1">
                  <c:v>1037.8896999999999</c:v>
                </c:pt>
                <c:pt idx="2">
                  <c:v>1349.3814</c:v>
                </c:pt>
                <c:pt idx="3">
                  <c:v>1264.0986</c:v>
                </c:pt>
                <c:pt idx="4">
                  <c:v>1844.4857999999999</c:v>
                </c:pt>
                <c:pt idx="5">
                  <c:v>0</c:v>
                </c:pt>
                <c:pt idx="6">
                  <c:v>1505.8407999999999</c:v>
                </c:pt>
                <c:pt idx="7">
                  <c:v>1632.9874</c:v>
                </c:pt>
                <c:pt idx="8">
                  <c:v>791.62879999999996</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0AF3-48D5-9004-520A83CE3E02}"/>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0AF3-48D5-9004-520A83CE3E02}"/>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rema</c:v>
                  </c:pt>
                  <c:pt idx="2">
                    <c:v>Sunscreen Liquido</c:v>
                  </c:pt>
                  <c:pt idx="4">
                    <c:v>Sunscreen Gel</c:v>
                  </c:pt>
                  <c:pt idx="6">
                    <c:v>Sunscreen Locion</c:v>
                  </c:pt>
                  <c:pt idx="8">
                    <c:v>Sunscreen Fluido</c:v>
                  </c:pt>
                </c:lvl>
              </c:multiLvlStrCache>
            </c:multiLvlStrRef>
          </c:cat>
          <c:val>
            <c:numRef>
              <c:f>Sheet1!$C$2:$C$11</c:f>
              <c:numCache>
                <c:formatCode>General</c:formatCode>
                <c:ptCount val="10"/>
                <c:pt idx="0">
                  <c:v>756.8</c:v>
                </c:pt>
                <c:pt idx="1">
                  <c:v>66.3</c:v>
                </c:pt>
                <c:pt idx="2">
                  <c:v>492.3</c:v>
                </c:pt>
                <c:pt idx="3">
                  <c:v>64</c:v>
                </c:pt>
                <c:pt idx="4">
                  <c:v>129.80000000000001</c:v>
                </c:pt>
                <c:pt idx="5">
                  <c:v>0</c:v>
                </c:pt>
                <c:pt idx="6">
                  <c:v>76.599999999999994</c:v>
                </c:pt>
                <c:pt idx="7">
                  <c:v>68.3</c:v>
                </c:pt>
                <c:pt idx="8">
                  <c:v>56.8</c:v>
                </c:pt>
                <c:pt idx="9">
                  <c:v>0.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36.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0AF3-48D5-9004-520A83CE3E02}"/>
                </c:ext>
              </c:extLst>
            </c:dLbl>
            <c:dLbl>
              <c:idx val="1"/>
              <c:tx>
                <c:rich>
                  <a:bodyPr/>
                  <a:lstStyle/>
                  <a:p>
                    <a:r>
                      <a:t>1058.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0AF3-48D5-9004-520A83CE3E02}"/>
                </c:ext>
              </c:extLst>
            </c:dLbl>
            <c:dLbl>
              <c:idx val="2"/>
              <c:tx>
                <c:rich>
                  <a:bodyPr/>
                  <a:lstStyle/>
                  <a:p>
                    <a:r>
                      <a:t>1386.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0AF3-48D5-9004-520A83CE3E02}"/>
                </c:ext>
              </c:extLst>
            </c:dLbl>
            <c:dLbl>
              <c:idx val="3"/>
              <c:tx>
                <c:rich>
                  <a:bodyPr/>
                  <a:lstStyle/>
                  <a:p>
                    <a:r>
                      <a:t>1249.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0AF3-48D5-9004-520A83CE3E02}"/>
                </c:ext>
              </c:extLst>
            </c:dLbl>
            <c:dLbl>
              <c:idx val="4"/>
              <c:tx>
                <c:rich>
                  <a:bodyPr/>
                  <a:lstStyle/>
                  <a:p>
                    <a:r>
                      <a:t>1742.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0AF3-48D5-9004-520A83CE3E02}"/>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0AF3-48D5-9004-520A83CE3E02}"/>
                </c:ext>
              </c:extLst>
            </c:dLbl>
            <c:dLbl>
              <c:idx val="6"/>
              <c:tx>
                <c:rich>
                  <a:bodyPr/>
                  <a:lstStyle/>
                  <a:p>
                    <a:r>
                      <a:t>1480.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0AF3-48D5-9004-520A83CE3E02}"/>
                </c:ext>
              </c:extLst>
            </c:dLbl>
            <c:dLbl>
              <c:idx val="7"/>
              <c:tx>
                <c:rich>
                  <a:bodyPr/>
                  <a:lstStyle/>
                  <a:p>
                    <a:r>
                      <a:t>1403.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0AF3-48D5-9004-520A83CE3E02}"/>
                </c:ext>
              </c:extLst>
            </c:dLbl>
            <c:dLbl>
              <c:idx val="8"/>
              <c:tx>
                <c:rich>
                  <a:bodyPr/>
                  <a:lstStyle/>
                  <a:p>
                    <a:r>
                      <a:t>10910.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0AF3-48D5-9004-520A83CE3E02}"/>
                </c:ext>
              </c:extLst>
            </c:dLbl>
            <c:dLbl>
              <c:idx val="9"/>
              <c:tx>
                <c:rich>
                  <a:bodyPr/>
                  <a:lstStyle/>
                  <a:p>
                    <a:r>
                      <a:t>563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0AF3-48D5-9004-520A83CE3E0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rema</c:v>
                  </c:pt>
                  <c:pt idx="2">
                    <c:v>Sunscreen Liquido</c:v>
                  </c:pt>
                  <c:pt idx="4">
                    <c:v>Sunscreen Gel</c:v>
                  </c:pt>
                  <c:pt idx="6">
                    <c:v>Sunscreen Locion</c:v>
                  </c:pt>
                  <c:pt idx="8">
                    <c:v>Sunscreen Fluido</c:v>
                  </c:pt>
                </c:lvl>
              </c:multiLvlStrCache>
            </c:multiLvlStrRef>
          </c:cat>
          <c:val>
            <c:numRef>
              <c:f>Sheet1!$D$2:$D$11</c:f>
              <c:numCache>
                <c:formatCode>General</c:formatCode>
                <c:ptCount val="10"/>
                <c:pt idx="0">
                  <c:v>1636.5192</c:v>
                </c:pt>
                <c:pt idx="1">
                  <c:v>1058.2494999999999</c:v>
                </c:pt>
                <c:pt idx="2">
                  <c:v>1386.2406000000001</c:v>
                </c:pt>
                <c:pt idx="3">
                  <c:v>1249.3906999999999</c:v>
                </c:pt>
                <c:pt idx="4">
                  <c:v>1742.9694</c:v>
                </c:pt>
                <c:pt idx="5">
                  <c:v>0</c:v>
                </c:pt>
                <c:pt idx="6">
                  <c:v>1480.8145</c:v>
                </c:pt>
                <c:pt idx="7">
                  <c:v>1403.1635000000001</c:v>
                </c:pt>
                <c:pt idx="8">
                  <c:v>10910.921200000001</c:v>
                </c:pt>
                <c:pt idx="9">
                  <c:v>5633.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7CB8-4375-8CDB-A622C31EA5A4}"/>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7CB8-4375-8CDB-A622C31EA5A4}"/>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rema</c:v>
                  </c:pt>
                  <c:pt idx="2">
                    <c:v>Sunscreen Liquido</c:v>
                  </c:pt>
                  <c:pt idx="4">
                    <c:v>Sunscreen Gel</c:v>
                  </c:pt>
                  <c:pt idx="6">
                    <c:v>Sunscreen Fluido</c:v>
                  </c:pt>
                  <c:pt idx="8">
                    <c:v>Sunscreen Locion</c:v>
                  </c:pt>
                </c:lvl>
              </c:multiLvlStrCache>
            </c:multiLvlStrRef>
          </c:cat>
          <c:val>
            <c:numRef>
              <c:f>Sheet1!$C$2:$C$11</c:f>
              <c:numCache>
                <c:formatCode>General</c:formatCode>
                <c:ptCount val="10"/>
                <c:pt idx="0">
                  <c:v>1907.3</c:v>
                </c:pt>
                <c:pt idx="1">
                  <c:v>0</c:v>
                </c:pt>
                <c:pt idx="2">
                  <c:v>825.5</c:v>
                </c:pt>
                <c:pt idx="3">
                  <c:v>13.1</c:v>
                </c:pt>
                <c:pt idx="4">
                  <c:v>447.2</c:v>
                </c:pt>
                <c:pt idx="5">
                  <c:v>0</c:v>
                </c:pt>
                <c:pt idx="6">
                  <c:v>393.9</c:v>
                </c:pt>
                <c:pt idx="7">
                  <c:v>0</c:v>
                </c:pt>
                <c:pt idx="8">
                  <c:v>121.7</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480.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CB8-4375-8CDB-A622C31EA5A4}"/>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CB8-4375-8CDB-A622C31EA5A4}"/>
                </c:ext>
              </c:extLst>
            </c:dLbl>
            <c:dLbl>
              <c:idx val="2"/>
              <c:tx>
                <c:rich>
                  <a:bodyPr/>
                  <a:lstStyle/>
                  <a:p>
                    <a:r>
                      <a:t>1533.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CB8-4375-8CDB-A622C31EA5A4}"/>
                </c:ext>
              </c:extLst>
            </c:dLbl>
            <c:dLbl>
              <c:idx val="3"/>
              <c:tx>
                <c:rich>
                  <a:bodyPr/>
                  <a:lstStyle/>
                  <a:p>
                    <a:r>
                      <a:t>392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CB8-4375-8CDB-A622C31EA5A4}"/>
                </c:ext>
              </c:extLst>
            </c:dLbl>
            <c:dLbl>
              <c:idx val="4"/>
              <c:tx>
                <c:rich>
                  <a:bodyPr/>
                  <a:lstStyle/>
                  <a:p>
                    <a:r>
                      <a:t>3000.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CB8-4375-8CDB-A622C31EA5A4}"/>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CB8-4375-8CDB-A622C31EA5A4}"/>
                </c:ext>
              </c:extLst>
            </c:dLbl>
            <c:dLbl>
              <c:idx val="6"/>
              <c:tx>
                <c:rich>
                  <a:bodyPr/>
                  <a:lstStyle/>
                  <a:p>
                    <a:r>
                      <a:t>12486.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CB8-4375-8CDB-A622C31EA5A4}"/>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CB8-4375-8CDB-A622C31EA5A4}"/>
                </c:ext>
              </c:extLst>
            </c:dLbl>
            <c:dLbl>
              <c:idx val="8"/>
              <c:tx>
                <c:rich>
                  <a:bodyPr/>
                  <a:lstStyle/>
                  <a:p>
                    <a:r>
                      <a:t>158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CB8-4375-8CDB-A622C31EA5A4}"/>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CB8-4375-8CDB-A622C31EA5A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rema</c:v>
                  </c:pt>
                  <c:pt idx="2">
                    <c:v>Sunscreen Liquido</c:v>
                  </c:pt>
                  <c:pt idx="4">
                    <c:v>Sunscreen Gel</c:v>
                  </c:pt>
                  <c:pt idx="6">
                    <c:v>Sunscreen Fluido</c:v>
                  </c:pt>
                  <c:pt idx="8">
                    <c:v>Sunscreen Locion</c:v>
                  </c:pt>
                </c:lvl>
              </c:multiLvlStrCache>
            </c:multiLvlStrRef>
          </c:cat>
          <c:val>
            <c:numRef>
              <c:f>Sheet1!$D$2:$D$11</c:f>
              <c:numCache>
                <c:formatCode>General</c:formatCode>
                <c:ptCount val="10"/>
                <c:pt idx="0">
                  <c:v>2480.8530999999998</c:v>
                </c:pt>
                <c:pt idx="1">
                  <c:v>0</c:v>
                </c:pt>
                <c:pt idx="2">
                  <c:v>1533.6077</c:v>
                </c:pt>
                <c:pt idx="3">
                  <c:v>3923.2984000000001</c:v>
                </c:pt>
                <c:pt idx="4">
                  <c:v>3000.1498000000001</c:v>
                </c:pt>
                <c:pt idx="5">
                  <c:v>0</c:v>
                </c:pt>
                <c:pt idx="6">
                  <c:v>12486.0093</c:v>
                </c:pt>
                <c:pt idx="7">
                  <c:v>0</c:v>
                </c:pt>
                <c:pt idx="8">
                  <c:v>1589.2047</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BB98D2-CF2F-405D-BC94-B894C9BDDB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A3841B3-F467-49A0-91ED-1284691B78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DDB36B7-96BB-4885-AC25-8C254042A6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16B5DDF-86AB-4816-AD24-4C8A3DA189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AF4DC5A-FE9F-4BF4-8BAD-0927E4A4AE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5324B2F-712B-446E-BABF-01D0B403A9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C209EBB-528E-4D19-BDD5-11EB90C2E9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23190D4-7539-4072-A9DA-638E7D921A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637.73310000000004</c:v>
                </c:pt>
                <c:pt idx="1">
                  <c:v>558.16319999999996</c:v>
                </c:pt>
                <c:pt idx="2">
                  <c:v>711.97400000000005</c:v>
                </c:pt>
                <c:pt idx="3">
                  <c:v>704.71749999999997</c:v>
                </c:pt>
                <c:pt idx="4">
                  <c:v>395.63639999999998</c:v>
                </c:pt>
              </c:numCache>
            </c:numRef>
          </c:xVal>
          <c:yVal>
            <c:numRef>
              <c:f>Sheet1!$B$2:$B$6</c:f>
              <c:numCache>
                <c:formatCode>General</c:formatCode>
                <c:ptCount val="5"/>
                <c:pt idx="0">
                  <c:v>0.84799999999999998</c:v>
                </c:pt>
                <c:pt idx="1">
                  <c:v>1.726</c:v>
                </c:pt>
                <c:pt idx="2">
                  <c:v>2.8479999999999999</c:v>
                </c:pt>
                <c:pt idx="3">
                  <c:v>0.93700000000000006</c:v>
                </c:pt>
                <c:pt idx="4">
                  <c:v>1.159</c:v>
                </c:pt>
              </c:numCache>
            </c:numRef>
          </c:yVal>
          <c:bubbleSize>
            <c:numRef>
              <c:f>Sheet1!$C$2:$C$6</c:f>
              <c:numCache>
                <c:formatCode>General</c:formatCode>
                <c:ptCount val="5"/>
                <c:pt idx="0">
                  <c:v>29178838</c:v>
                </c:pt>
                <c:pt idx="1">
                  <c:v>28021467</c:v>
                </c:pt>
                <c:pt idx="2">
                  <c:v>3774174</c:v>
                </c:pt>
                <c:pt idx="3">
                  <c:v>3737117</c:v>
                </c:pt>
                <c:pt idx="4">
                  <c:v>21760</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Vichy</c:v>
                  </c:pt>
                  <c:pt idx="3">
                    <c:v>Heliocare</c:v>
                  </c:pt>
                  <c:pt idx="4">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4"/>
          <c:min val="31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0162-4EBB-9464-E26917C68250}"/>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0162-4EBB-9464-E26917C68250}"/>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rema</c:v>
                  </c:pt>
                  <c:pt idx="2">
                    <c:v>Sunscreen Liquido</c:v>
                  </c:pt>
                  <c:pt idx="4">
                    <c:v>Sunscreen Gel</c:v>
                  </c:pt>
                  <c:pt idx="6">
                    <c:v>Sunscreen Fluido</c:v>
                  </c:pt>
                  <c:pt idx="8">
                    <c:v>Sunscreen Locion</c:v>
                  </c:pt>
                </c:lvl>
              </c:multiLvlStrCache>
            </c:multiLvlStrRef>
          </c:cat>
          <c:val>
            <c:numRef>
              <c:f>Sheet1!$C$2:$C$11</c:f>
              <c:numCache>
                <c:formatCode>General</c:formatCode>
                <c:ptCount val="10"/>
                <c:pt idx="0">
                  <c:v>1694.9</c:v>
                </c:pt>
                <c:pt idx="1">
                  <c:v>0</c:v>
                </c:pt>
                <c:pt idx="2">
                  <c:v>770.8</c:v>
                </c:pt>
                <c:pt idx="3">
                  <c:v>13</c:v>
                </c:pt>
                <c:pt idx="4">
                  <c:v>413.8</c:v>
                </c:pt>
                <c:pt idx="5">
                  <c:v>0</c:v>
                </c:pt>
                <c:pt idx="6">
                  <c:v>350.8</c:v>
                </c:pt>
                <c:pt idx="7">
                  <c:v>0</c:v>
                </c:pt>
                <c:pt idx="8">
                  <c:v>116.7</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56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0162-4EBB-9464-E26917C68250}"/>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0162-4EBB-9464-E26917C68250}"/>
                </c:ext>
              </c:extLst>
            </c:dLbl>
            <c:dLbl>
              <c:idx val="2"/>
              <c:tx>
                <c:rich>
                  <a:bodyPr/>
                  <a:lstStyle/>
                  <a:p>
                    <a:r>
                      <a:t>1552.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0162-4EBB-9464-E26917C68250}"/>
                </c:ext>
              </c:extLst>
            </c:dLbl>
            <c:dLbl>
              <c:idx val="3"/>
              <c:tx>
                <c:rich>
                  <a:bodyPr/>
                  <a:lstStyle/>
                  <a:p>
                    <a:r>
                      <a:t>4126.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0162-4EBB-9464-E26917C68250}"/>
                </c:ext>
              </c:extLst>
            </c:dLbl>
            <c:dLbl>
              <c:idx val="4"/>
              <c:tx>
                <c:rich>
                  <a:bodyPr/>
                  <a:lstStyle/>
                  <a:p>
                    <a:r>
                      <a:t>2980.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0162-4EBB-9464-E26917C68250}"/>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0162-4EBB-9464-E26917C68250}"/>
                </c:ext>
              </c:extLst>
            </c:dLbl>
            <c:dLbl>
              <c:idx val="6"/>
              <c:tx>
                <c:rich>
                  <a:bodyPr/>
                  <a:lstStyle/>
                  <a:p>
                    <a:r>
                      <a:t>12934.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0162-4EBB-9464-E26917C68250}"/>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0162-4EBB-9464-E26917C68250}"/>
                </c:ext>
              </c:extLst>
            </c:dLbl>
            <c:dLbl>
              <c:idx val="8"/>
              <c:tx>
                <c:rich>
                  <a:bodyPr/>
                  <a:lstStyle/>
                  <a:p>
                    <a:r>
                      <a:t>1626.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0162-4EBB-9464-E26917C68250}"/>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0162-4EBB-9464-E26917C6825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rema</c:v>
                  </c:pt>
                  <c:pt idx="2">
                    <c:v>Sunscreen Liquido</c:v>
                  </c:pt>
                  <c:pt idx="4">
                    <c:v>Sunscreen Gel</c:v>
                  </c:pt>
                  <c:pt idx="6">
                    <c:v>Sunscreen Fluido</c:v>
                  </c:pt>
                  <c:pt idx="8">
                    <c:v>Sunscreen Locion</c:v>
                  </c:pt>
                </c:lvl>
              </c:multiLvlStrCache>
            </c:multiLvlStrRef>
          </c:cat>
          <c:val>
            <c:numRef>
              <c:f>Sheet1!$D$2:$D$11</c:f>
              <c:numCache>
                <c:formatCode>General</c:formatCode>
                <c:ptCount val="10"/>
                <c:pt idx="0">
                  <c:v>2560.0007000000001</c:v>
                </c:pt>
                <c:pt idx="1">
                  <c:v>0</c:v>
                </c:pt>
                <c:pt idx="2">
                  <c:v>1552.5425</c:v>
                </c:pt>
                <c:pt idx="3">
                  <c:v>4126.1409999999996</c:v>
                </c:pt>
                <c:pt idx="4">
                  <c:v>2980.4443000000001</c:v>
                </c:pt>
                <c:pt idx="5">
                  <c:v>0</c:v>
                </c:pt>
                <c:pt idx="6">
                  <c:v>12934.4946</c:v>
                </c:pt>
                <c:pt idx="7">
                  <c:v>0</c:v>
                </c:pt>
                <c:pt idx="8">
                  <c:v>1626.7792999999999</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1FDB-4BEF-A5AA-97A0C91C40F5}"/>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1FDB-4BEF-A5AA-97A0C91C40F5}"/>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rema</c:v>
                  </c:pt>
                  <c:pt idx="2">
                    <c:v>Sunscreen Fluido</c:v>
                  </c:pt>
                  <c:pt idx="4">
                    <c:v>Sunscreen Gel</c:v>
                  </c:pt>
                  <c:pt idx="6">
                    <c:v>Sunscreen Liquido</c:v>
                  </c:pt>
                  <c:pt idx="8">
                    <c:v>Sunscreen Aceite</c:v>
                  </c:pt>
                </c:lvl>
              </c:multiLvlStrCache>
            </c:multiLvlStrRef>
          </c:cat>
          <c:val>
            <c:numRef>
              <c:f>Sheet1!$C$2:$C$11</c:f>
              <c:numCache>
                <c:formatCode>General</c:formatCode>
                <c:ptCount val="10"/>
                <c:pt idx="0">
                  <c:v>936.4</c:v>
                </c:pt>
                <c:pt idx="1">
                  <c:v>0</c:v>
                </c:pt>
                <c:pt idx="2">
                  <c:v>294</c:v>
                </c:pt>
                <c:pt idx="3">
                  <c:v>0</c:v>
                </c:pt>
                <c:pt idx="4">
                  <c:v>283.89999999999998</c:v>
                </c:pt>
                <c:pt idx="5">
                  <c:v>0</c:v>
                </c:pt>
                <c:pt idx="6">
                  <c:v>276.5</c:v>
                </c:pt>
                <c:pt idx="7">
                  <c:v>0.5</c:v>
                </c:pt>
                <c:pt idx="8">
                  <c:v>52.2</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4768.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FDB-4BEF-A5AA-97A0C91C40F5}"/>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FDB-4BEF-A5AA-97A0C91C40F5}"/>
                </c:ext>
              </c:extLst>
            </c:dLbl>
            <c:dLbl>
              <c:idx val="2"/>
              <c:tx>
                <c:rich>
                  <a:bodyPr/>
                  <a:lstStyle/>
                  <a:p>
                    <a:r>
                      <a:t>13698.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FDB-4BEF-A5AA-97A0C91C40F5}"/>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FDB-4BEF-A5AA-97A0C91C40F5}"/>
                </c:ext>
              </c:extLst>
            </c:dLbl>
            <c:dLbl>
              <c:idx val="4"/>
              <c:tx>
                <c:rich>
                  <a:bodyPr/>
                  <a:lstStyle/>
                  <a:p>
                    <a:r>
                      <a:t>4428.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FDB-4BEF-A5AA-97A0C91C40F5}"/>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FDB-4BEF-A5AA-97A0C91C40F5}"/>
                </c:ext>
              </c:extLst>
            </c:dLbl>
            <c:dLbl>
              <c:idx val="6"/>
              <c:tx>
                <c:rich>
                  <a:bodyPr/>
                  <a:lstStyle/>
                  <a:p>
                    <a:r>
                      <a:t>1990.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FDB-4BEF-A5AA-97A0C91C40F5}"/>
                </c:ext>
              </c:extLst>
            </c:dLbl>
            <c:dLbl>
              <c:idx val="7"/>
              <c:tx>
                <c:rich>
                  <a:bodyPr/>
                  <a:lstStyle/>
                  <a:p>
                    <a:r>
                      <a:t>11522.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FDB-4BEF-A5AA-97A0C91C40F5}"/>
                </c:ext>
              </c:extLst>
            </c:dLbl>
            <c:dLbl>
              <c:idx val="8"/>
              <c:tx>
                <c:rich>
                  <a:bodyPr/>
                  <a:lstStyle/>
                  <a:p>
                    <a:r>
                      <a:t>4403.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FDB-4BEF-A5AA-97A0C91C40F5}"/>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FDB-4BEF-A5AA-97A0C91C40F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rema</c:v>
                  </c:pt>
                  <c:pt idx="2">
                    <c:v>Sunscreen Fluido</c:v>
                  </c:pt>
                  <c:pt idx="4">
                    <c:v>Sunscreen Gel</c:v>
                  </c:pt>
                  <c:pt idx="6">
                    <c:v>Sunscreen Liquido</c:v>
                  </c:pt>
                  <c:pt idx="8">
                    <c:v>Sunscreen Aceite</c:v>
                  </c:pt>
                </c:lvl>
              </c:multiLvlStrCache>
            </c:multiLvlStrRef>
          </c:cat>
          <c:val>
            <c:numRef>
              <c:f>Sheet1!$D$2:$D$11</c:f>
              <c:numCache>
                <c:formatCode>General</c:formatCode>
                <c:ptCount val="10"/>
                <c:pt idx="0">
                  <c:v>4768.9269000000004</c:v>
                </c:pt>
                <c:pt idx="1">
                  <c:v>0</c:v>
                </c:pt>
                <c:pt idx="2">
                  <c:v>13698.9069</c:v>
                </c:pt>
                <c:pt idx="3">
                  <c:v>0</c:v>
                </c:pt>
                <c:pt idx="4">
                  <c:v>4428.4740000000002</c:v>
                </c:pt>
                <c:pt idx="5">
                  <c:v>0</c:v>
                </c:pt>
                <c:pt idx="6">
                  <c:v>1990.7431999999999</c:v>
                </c:pt>
                <c:pt idx="7">
                  <c:v>11522.434800000001</c:v>
                </c:pt>
                <c:pt idx="8">
                  <c:v>4403.4684999999999</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4DF0-4ECA-9C73-9F83AE57EAC2}"/>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4DF0-4ECA-9C73-9F83AE57EAC2}"/>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rema</c:v>
                  </c:pt>
                  <c:pt idx="2">
                    <c:v>Sunscreen Liquido</c:v>
                  </c:pt>
                  <c:pt idx="4">
                    <c:v>Sunscreen Gel</c:v>
                  </c:pt>
                  <c:pt idx="6">
                    <c:v>Sunscreen Locion</c:v>
                  </c:pt>
                  <c:pt idx="8">
                    <c:v>Sunscreen Spray</c:v>
                  </c:pt>
                </c:lvl>
              </c:multiLvlStrCache>
            </c:multiLvlStrRef>
          </c:cat>
          <c:val>
            <c:numRef>
              <c:f>Sheet1!$C$2:$C$11</c:f>
              <c:numCache>
                <c:formatCode>General</c:formatCode>
                <c:ptCount val="10"/>
                <c:pt idx="0">
                  <c:v>16.399999999999999</c:v>
                </c:pt>
                <c:pt idx="1">
                  <c:v>0</c:v>
                </c:pt>
                <c:pt idx="2">
                  <c:v>5.4</c:v>
                </c:pt>
                <c:pt idx="3">
                  <c:v>0</c:v>
                </c:pt>
                <c:pt idx="4">
                  <c:v>1.9</c:v>
                </c:pt>
                <c:pt idx="5">
                  <c:v>0</c:v>
                </c:pt>
                <c:pt idx="6">
                  <c:v>0.6</c:v>
                </c:pt>
                <c:pt idx="7">
                  <c:v>0</c:v>
                </c:pt>
                <c:pt idx="8">
                  <c:v>0.4</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80.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4DF0-4ECA-9C73-9F83AE57EAC2}"/>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4DF0-4ECA-9C73-9F83AE57EAC2}"/>
                </c:ext>
              </c:extLst>
            </c:dLbl>
            <c:dLbl>
              <c:idx val="2"/>
              <c:tx>
                <c:rich>
                  <a:bodyPr/>
                  <a:lstStyle/>
                  <a:p>
                    <a:r>
                      <a:t>1349.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4DF0-4ECA-9C73-9F83AE57EAC2}"/>
                </c:ext>
              </c:extLst>
            </c:dLbl>
            <c:dLbl>
              <c:idx val="3"/>
              <c:tx>
                <c:rich>
                  <a:bodyPr/>
                  <a:lstStyle/>
                  <a:p>
                    <a:r>
                      <a:t>1715.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4DF0-4ECA-9C73-9F83AE57EAC2}"/>
                </c:ext>
              </c:extLst>
            </c:dLbl>
            <c:dLbl>
              <c:idx val="4"/>
              <c:tx>
                <c:rich>
                  <a:bodyPr/>
                  <a:lstStyle/>
                  <a:p>
                    <a:r>
                      <a:t>1844.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4DF0-4ECA-9C73-9F83AE57EAC2}"/>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4DF0-4ECA-9C73-9F83AE57EAC2}"/>
                </c:ext>
              </c:extLst>
            </c:dLbl>
            <c:dLbl>
              <c:idx val="6"/>
              <c:tx>
                <c:rich>
                  <a:bodyPr/>
                  <a:lstStyle/>
                  <a:p>
                    <a:r>
                      <a:t>1505.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4DF0-4ECA-9C73-9F83AE57EAC2}"/>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4DF0-4ECA-9C73-9F83AE57EAC2}"/>
                </c:ext>
              </c:extLst>
            </c:dLbl>
            <c:dLbl>
              <c:idx val="8"/>
              <c:tx>
                <c:rich>
                  <a:bodyPr/>
                  <a:lstStyle/>
                  <a:p>
                    <a:r>
                      <a:t>791.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4DF0-4ECA-9C73-9F83AE57EAC2}"/>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4DF0-4ECA-9C73-9F83AE57EAC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rema</c:v>
                  </c:pt>
                  <c:pt idx="2">
                    <c:v>Sunscreen Liquido</c:v>
                  </c:pt>
                  <c:pt idx="4">
                    <c:v>Sunscreen Gel</c:v>
                  </c:pt>
                  <c:pt idx="6">
                    <c:v>Sunscreen Locion</c:v>
                  </c:pt>
                  <c:pt idx="8">
                    <c:v>Sunscreen Spray</c:v>
                  </c:pt>
                </c:lvl>
              </c:multiLvlStrCache>
            </c:multiLvlStrRef>
          </c:cat>
          <c:val>
            <c:numRef>
              <c:f>Sheet1!$D$2:$D$11</c:f>
              <c:numCache>
                <c:formatCode>General</c:formatCode>
                <c:ptCount val="10"/>
                <c:pt idx="0">
                  <c:v>1280.4523999999999</c:v>
                </c:pt>
                <c:pt idx="1">
                  <c:v>0</c:v>
                </c:pt>
                <c:pt idx="2">
                  <c:v>1349.3814</c:v>
                </c:pt>
                <c:pt idx="3">
                  <c:v>1715.6667</c:v>
                </c:pt>
                <c:pt idx="4">
                  <c:v>1844.4857999999999</c:v>
                </c:pt>
                <c:pt idx="5">
                  <c:v>0</c:v>
                </c:pt>
                <c:pt idx="6">
                  <c:v>1505.8407999999999</c:v>
                </c:pt>
                <c:pt idx="7">
                  <c:v>0</c:v>
                </c:pt>
                <c:pt idx="8">
                  <c:v>791.62879999999996</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BDCE-4A0B-9237-ADA61E4993A0}"/>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BDCE-4A0B-9237-ADA61E4993A0}"/>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rema</c:v>
                  </c:pt>
                  <c:pt idx="2">
                    <c:v>Sunscreen Liquido</c:v>
                  </c:pt>
                  <c:pt idx="4">
                    <c:v>Sunscreen Gel</c:v>
                  </c:pt>
                  <c:pt idx="6">
                    <c:v>Sunscreen Locion</c:v>
                  </c:pt>
                  <c:pt idx="8">
                    <c:v>Sunscreen Fluido</c:v>
                  </c:pt>
                </c:lvl>
              </c:multiLvlStrCache>
            </c:multiLvlStrRef>
          </c:cat>
          <c:val>
            <c:numRef>
              <c:f>Sheet1!$C$2:$C$11</c:f>
              <c:numCache>
                <c:formatCode>General</c:formatCode>
                <c:ptCount val="10"/>
                <c:pt idx="0">
                  <c:v>756.8</c:v>
                </c:pt>
                <c:pt idx="1">
                  <c:v>0</c:v>
                </c:pt>
                <c:pt idx="2">
                  <c:v>492.3</c:v>
                </c:pt>
                <c:pt idx="3">
                  <c:v>12.5</c:v>
                </c:pt>
                <c:pt idx="4">
                  <c:v>129.80000000000001</c:v>
                </c:pt>
                <c:pt idx="5">
                  <c:v>0</c:v>
                </c:pt>
                <c:pt idx="6">
                  <c:v>76.599999999999994</c:v>
                </c:pt>
                <c:pt idx="7">
                  <c:v>0</c:v>
                </c:pt>
                <c:pt idx="8">
                  <c:v>56.8</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36.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BDCE-4A0B-9237-ADA61E4993A0}"/>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BDCE-4A0B-9237-ADA61E4993A0}"/>
                </c:ext>
              </c:extLst>
            </c:dLbl>
            <c:dLbl>
              <c:idx val="2"/>
              <c:tx>
                <c:rich>
                  <a:bodyPr/>
                  <a:lstStyle/>
                  <a:p>
                    <a:r>
                      <a:t>1386.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BDCE-4A0B-9237-ADA61E4993A0}"/>
                </c:ext>
              </c:extLst>
            </c:dLbl>
            <c:dLbl>
              <c:idx val="3"/>
              <c:tx>
                <c:rich>
                  <a:bodyPr/>
                  <a:lstStyle/>
                  <a:p>
                    <a:r>
                      <a:t>4025.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BDCE-4A0B-9237-ADA61E4993A0}"/>
                </c:ext>
              </c:extLst>
            </c:dLbl>
            <c:dLbl>
              <c:idx val="4"/>
              <c:tx>
                <c:rich>
                  <a:bodyPr/>
                  <a:lstStyle/>
                  <a:p>
                    <a:r>
                      <a:t>1742.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BDCE-4A0B-9237-ADA61E4993A0}"/>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BDCE-4A0B-9237-ADA61E4993A0}"/>
                </c:ext>
              </c:extLst>
            </c:dLbl>
            <c:dLbl>
              <c:idx val="6"/>
              <c:tx>
                <c:rich>
                  <a:bodyPr/>
                  <a:lstStyle/>
                  <a:p>
                    <a:r>
                      <a:t>1480.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BDCE-4A0B-9237-ADA61E4993A0}"/>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BDCE-4A0B-9237-ADA61E4993A0}"/>
                </c:ext>
              </c:extLst>
            </c:dLbl>
            <c:dLbl>
              <c:idx val="8"/>
              <c:tx>
                <c:rich>
                  <a:bodyPr/>
                  <a:lstStyle/>
                  <a:p>
                    <a:r>
                      <a:t>10910.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BDCE-4A0B-9237-ADA61E4993A0}"/>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BDCE-4A0B-9237-ADA61E4993A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rema</c:v>
                  </c:pt>
                  <c:pt idx="2">
                    <c:v>Sunscreen Liquido</c:v>
                  </c:pt>
                  <c:pt idx="4">
                    <c:v>Sunscreen Gel</c:v>
                  </c:pt>
                  <c:pt idx="6">
                    <c:v>Sunscreen Locion</c:v>
                  </c:pt>
                  <c:pt idx="8">
                    <c:v>Sunscreen Fluido</c:v>
                  </c:pt>
                </c:lvl>
              </c:multiLvlStrCache>
            </c:multiLvlStrRef>
          </c:cat>
          <c:val>
            <c:numRef>
              <c:f>Sheet1!$D$2:$D$11</c:f>
              <c:numCache>
                <c:formatCode>General</c:formatCode>
                <c:ptCount val="10"/>
                <c:pt idx="0">
                  <c:v>1636.5192</c:v>
                </c:pt>
                <c:pt idx="1">
                  <c:v>0</c:v>
                </c:pt>
                <c:pt idx="2">
                  <c:v>1386.2406000000001</c:v>
                </c:pt>
                <c:pt idx="3">
                  <c:v>4025.5318000000002</c:v>
                </c:pt>
                <c:pt idx="4">
                  <c:v>1742.9694</c:v>
                </c:pt>
                <c:pt idx="5">
                  <c:v>0</c:v>
                </c:pt>
                <c:pt idx="6">
                  <c:v>1480.8145</c:v>
                </c:pt>
                <c:pt idx="7">
                  <c:v>0</c:v>
                </c:pt>
                <c:pt idx="8">
                  <c:v>10910.92120000000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54BE55A6-33F8-4C9B-ACA9-A121B6CEC4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72BFE05A-DA44-4750-96C4-E3703A2858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DDB60C96-EA05-4AF5-AEFF-BCD881F868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30915229-7E38-411E-8141-5344BAD258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E4651D17-FCA1-4972-B335-7F2A00BB97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3F34252F-79F3-4A52-A539-F73729FC33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DA3D3427-7243-4BD9-BEE9-1292697A5F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8F79519E-B25A-4A6A-A56F-3644C09DDF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18.10490000000004</c:v>
                </c:pt>
                <c:pt idx="1">
                  <c:v>257.71620000000001</c:v>
                </c:pt>
                <c:pt idx="2">
                  <c:v>301.66059999999999</c:v>
                </c:pt>
                <c:pt idx="3">
                  <c:v>659.26099999999997</c:v>
                </c:pt>
                <c:pt idx="4">
                  <c:v>247.16579999999999</c:v>
                </c:pt>
                <c:pt idx="5">
                  <c:v>703.88639999999998</c:v>
                </c:pt>
                <c:pt idx="6">
                  <c:v>675.80600000000004</c:v>
                </c:pt>
                <c:pt idx="7">
                  <c:v>250.20859999999999</c:v>
                </c:pt>
              </c:numCache>
            </c:numRef>
          </c:xVal>
          <c:yVal>
            <c:numRef>
              <c:f>Sheet1!$B$2:$B$9</c:f>
              <c:numCache>
                <c:formatCode>General</c:formatCode>
                <c:ptCount val="8"/>
                <c:pt idx="0">
                  <c:v>4.8869999999999996</c:v>
                </c:pt>
                <c:pt idx="1">
                  <c:v>0.98499999999999999</c:v>
                </c:pt>
                <c:pt idx="2">
                  <c:v>1.3009999999999999</c:v>
                </c:pt>
                <c:pt idx="3">
                  <c:v>2.7919999999999998</c:v>
                </c:pt>
                <c:pt idx="4">
                  <c:v>0.45700000000000002</c:v>
                </c:pt>
                <c:pt idx="5">
                  <c:v>3.246</c:v>
                </c:pt>
                <c:pt idx="6">
                  <c:v>4.7869999999999999</c:v>
                </c:pt>
                <c:pt idx="7">
                  <c:v>0.433</c:v>
                </c:pt>
              </c:numCache>
            </c:numRef>
          </c:yVal>
          <c:bubbleSize>
            <c:numRef>
              <c:f>Sheet1!$C$2:$C$9</c:f>
              <c:numCache>
                <c:formatCode>General</c:formatCode>
                <c:ptCount val="8"/>
                <c:pt idx="0">
                  <c:v>293910122</c:v>
                </c:pt>
                <c:pt idx="1">
                  <c:v>293211158</c:v>
                </c:pt>
                <c:pt idx="2">
                  <c:v>158153722</c:v>
                </c:pt>
                <c:pt idx="3">
                  <c:v>134418054</c:v>
                </c:pt>
                <c:pt idx="4">
                  <c:v>100232388</c:v>
                </c:pt>
                <c:pt idx="5">
                  <c:v>93898444</c:v>
                </c:pt>
                <c:pt idx="6">
                  <c:v>92790193</c:v>
                </c:pt>
                <c:pt idx="7">
                  <c:v>90013296</c:v>
                </c:pt>
              </c:numCache>
            </c:numRef>
          </c:bubbleSize>
          <c:bubble3D val="0"/>
          <c:extLst>
            <c:ext xmlns:c15="http://schemas.microsoft.com/office/drawing/2012/chart" uri="{02D57815-91ED-43cb-92C2-25804820EDAC}">
              <c15:datalabelsRange>
                <c15:f>Sheet1!$E$2:$E$10</c15:f>
                <c15:dlblRangeCache>
                  <c:ptCount val="9"/>
                  <c:pt idx="0">
                    <c:v>Isdin</c:v>
                  </c:pt>
                  <c:pt idx="1">
                    <c:v>Nivea</c:v>
                  </c:pt>
                  <c:pt idx="2">
                    <c:v>Neutrogena</c:v>
                  </c:pt>
                  <c:pt idx="3">
                    <c:v>Avene</c:v>
                  </c:pt>
                  <c:pt idx="4">
                    <c:v>Hawaiian Tropic</c:v>
                  </c:pt>
                  <c:pt idx="5">
                    <c:v>Eucerin</c:v>
                  </c:pt>
                  <c:pt idx="6">
                    <c:v>La Roche-Posay</c:v>
                  </c:pt>
                  <c:pt idx="7">
                    <c:v>Banana Boa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5"/>
          <c:min val="19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243B9C28-C2CB-408A-8B6E-4F93EE79C9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3CC16844-16CC-4D34-BBDF-5DC19268DF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27994386-6B46-4914-95B9-DC8EF6AC26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98164D91-AD45-40D9-AB15-4D3D4A714A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7A49E7CE-24A9-4930-8E1F-B56861AB0D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A0371D67-B7F8-4492-B429-24BC0D4EAC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228695F3-841D-4930-BEC6-F9A053F7D4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8EE96B9C-04A8-45AF-A13A-A1E055DE55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18.98260000000005</c:v>
                </c:pt>
                <c:pt idx="1">
                  <c:v>632.22529999999995</c:v>
                </c:pt>
                <c:pt idx="2">
                  <c:v>747.31100000000004</c:v>
                </c:pt>
                <c:pt idx="3">
                  <c:v>640.42579999999998</c:v>
                </c:pt>
                <c:pt idx="4">
                  <c:v>596.89359999999999</c:v>
                </c:pt>
                <c:pt idx="5">
                  <c:v>600.24639999999999</c:v>
                </c:pt>
                <c:pt idx="6">
                  <c:v>262.49939999999998</c:v>
                </c:pt>
                <c:pt idx="7">
                  <c:v>272.35610000000003</c:v>
                </c:pt>
              </c:numCache>
            </c:numRef>
          </c:xVal>
          <c:yVal>
            <c:numRef>
              <c:f>Sheet1!$B$2:$B$9</c:f>
              <c:numCache>
                <c:formatCode>General</c:formatCode>
                <c:ptCount val="8"/>
                <c:pt idx="0">
                  <c:v>0.96899999999999997</c:v>
                </c:pt>
                <c:pt idx="1">
                  <c:v>1.0069999999999999</c:v>
                </c:pt>
                <c:pt idx="2">
                  <c:v>1.323</c:v>
                </c:pt>
                <c:pt idx="3">
                  <c:v>1.002</c:v>
                </c:pt>
                <c:pt idx="4">
                  <c:v>0.93899999999999995</c:v>
                </c:pt>
                <c:pt idx="5">
                  <c:v>1.4910000000000001</c:v>
                </c:pt>
                <c:pt idx="6">
                  <c:v>0.51900000000000002</c:v>
                </c:pt>
                <c:pt idx="7">
                  <c:v>0.45600000000000002</c:v>
                </c:pt>
              </c:numCache>
            </c:numRef>
          </c:yVal>
          <c:bubbleSize>
            <c:numRef>
              <c:f>Sheet1!$C$2:$C$9</c:f>
              <c:numCache>
                <c:formatCode>General</c:formatCode>
                <c:ptCount val="8"/>
                <c:pt idx="0">
                  <c:v>137352856</c:v>
                </c:pt>
                <c:pt idx="1">
                  <c:v>70816815</c:v>
                </c:pt>
                <c:pt idx="2">
                  <c:v>56541549</c:v>
                </c:pt>
                <c:pt idx="3">
                  <c:v>23466483</c:v>
                </c:pt>
                <c:pt idx="4">
                  <c:v>21588447</c:v>
                </c:pt>
                <c:pt idx="5">
                  <c:v>17920958</c:v>
                </c:pt>
                <c:pt idx="6">
                  <c:v>16499925</c:v>
                </c:pt>
                <c:pt idx="7">
                  <c:v>714390</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Avene</c:v>
                  </c:pt>
                  <c:pt idx="3">
                    <c:v>Heliocare</c:v>
                  </c:pt>
                  <c:pt idx="4">
                    <c:v>Eucerin</c:v>
                  </c:pt>
                  <c:pt idx="5">
                    <c:v>Photoderm</c:v>
                  </c:pt>
                  <c:pt idx="6">
                    <c:v>Nivea</c:v>
                  </c:pt>
                  <c:pt idx="7">
                    <c:v>Banana Boat</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7"/>
          <c:min val="2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B567FE5C-A458-4406-82EF-067DD981BD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3AB48042-A692-4351-B7F1-981D44030B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38B6B6E1-E727-4D84-BB19-A0009946F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849B07E0-1C91-4487-BFA6-1C32635F10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25A34DBE-4B81-496C-96C0-BFF2C7EBB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09500595-917F-4740-866D-A4F73E204F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95139F60-0404-4270-9969-EA066A9563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9698190A-4824-4B2C-8863-7FECFE390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74.19709999999998</c:v>
                </c:pt>
                <c:pt idx="1">
                  <c:v>632.08420000000001</c:v>
                </c:pt>
                <c:pt idx="2">
                  <c:v>632.31629999999996</c:v>
                </c:pt>
                <c:pt idx="3">
                  <c:v>582.01130000000001</c:v>
                </c:pt>
                <c:pt idx="4">
                  <c:v>663.69219999999996</c:v>
                </c:pt>
                <c:pt idx="5">
                  <c:v>752.56579999999997</c:v>
                </c:pt>
                <c:pt idx="6">
                  <c:v>511.63319999999999</c:v>
                </c:pt>
              </c:numCache>
            </c:numRef>
          </c:xVal>
          <c:yVal>
            <c:numRef>
              <c:f>Sheet1!$B$2:$B$8</c:f>
              <c:numCache>
                <c:formatCode>General</c:formatCode>
                <c:ptCount val="7"/>
                <c:pt idx="0">
                  <c:v>0.496</c:v>
                </c:pt>
                <c:pt idx="1">
                  <c:v>0.86399999999999999</c:v>
                </c:pt>
                <c:pt idx="2">
                  <c:v>4.2569999999999997</c:v>
                </c:pt>
                <c:pt idx="3">
                  <c:v>3.9220000000000002</c:v>
                </c:pt>
                <c:pt idx="4">
                  <c:v>4.1100000000000003</c:v>
                </c:pt>
                <c:pt idx="5">
                  <c:v>9.26</c:v>
                </c:pt>
                <c:pt idx="6">
                  <c:v>1.7290000000000001</c:v>
                </c:pt>
              </c:numCache>
            </c:numRef>
          </c:yVal>
          <c:bubbleSize>
            <c:numRef>
              <c:f>Sheet1!$C$2:$C$8</c:f>
              <c:numCache>
                <c:formatCode>General</c:formatCode>
                <c:ptCount val="7"/>
                <c:pt idx="0">
                  <c:v>121560916</c:v>
                </c:pt>
                <c:pt idx="1">
                  <c:v>106368391</c:v>
                </c:pt>
                <c:pt idx="2">
                  <c:v>81286153</c:v>
                </c:pt>
                <c:pt idx="3">
                  <c:v>57202400</c:v>
                </c:pt>
                <c:pt idx="4">
                  <c:v>22137452</c:v>
                </c:pt>
                <c:pt idx="5">
                  <c:v>12419594</c:v>
                </c:pt>
                <c:pt idx="6">
                  <c:v>5839270</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Eucerin</c:v>
                  </c:pt>
                  <c:pt idx="3">
                    <c:v>La Roche-Posay</c:v>
                  </c:pt>
                  <c:pt idx="4">
                    <c:v>Heliocare</c:v>
                  </c:pt>
                  <c:pt idx="5">
                    <c:v>Photoderm</c:v>
                  </c:pt>
                  <c:pt idx="6">
                    <c:v>Cetaphil</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03"/>
          <c:min val="2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456D733-1583-4197-87A8-83DB40614E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AC32E0C-6753-42A8-92D2-8AEE3165CD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D32C534-ED3B-4E5A-9A9B-08E2219508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A8C66F8-6C92-4E82-9DD4-089B01ECCB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51FBA0E-AD27-44A6-941E-70DBF2F1C7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0BD91E9-0E0B-4FBA-95AB-C3A4856C23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BFF4F1C-BC69-40DE-8F50-3E624ADDE5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5CDE01A-4DA1-4CBF-B2FB-3E5E6CCB09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687.48429999999996</c:v>
                </c:pt>
                <c:pt idx="1">
                  <c:v>824.6857</c:v>
                </c:pt>
              </c:numCache>
            </c:numRef>
          </c:xVal>
          <c:yVal>
            <c:numRef>
              <c:f>Sheet1!$B$2:$B$3</c:f>
              <c:numCache>
                <c:formatCode>General</c:formatCode>
                <c:ptCount val="2"/>
                <c:pt idx="0">
                  <c:v>0.879</c:v>
                </c:pt>
                <c:pt idx="1">
                  <c:v>2.84</c:v>
                </c:pt>
              </c:numCache>
            </c:numRef>
          </c:yVal>
          <c:bubbleSize>
            <c:numRef>
              <c:f>Sheet1!$C$2:$C$3</c:f>
              <c:numCache>
                <c:formatCode>General</c:formatCode>
                <c:ptCount val="2"/>
                <c:pt idx="0">
                  <c:v>34448463</c:v>
                </c:pt>
                <c:pt idx="1">
                  <c:v>7277027</c:v>
                </c:pt>
              </c:numCache>
            </c:numRef>
          </c:bubbleSize>
          <c:bubble3D val="0"/>
          <c:extLst>
            <c:ext xmlns:c15="http://schemas.microsoft.com/office/drawing/2012/chart" uri="{02D57815-91ED-43cb-92C2-25804820EDAC}">
              <c15:datalabelsRange>
                <c15:f>Sheet1!$E$2:$E$10</c15:f>
                <c15:dlblRangeCache>
                  <c:ptCount val="9"/>
                  <c:pt idx="0">
                    <c:v>Eucerin</c:v>
                  </c:pt>
                  <c:pt idx="1">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90"/>
          <c:min val="55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12E27CCC-50A9-42ED-A701-13A335E94A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822F4E2C-904B-4FB2-88B2-77DE65114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67DD4D4F-88B4-4BC8-A741-4FDF67EAFE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878ECF61-043C-457B-B4E5-8EDF69A690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BF3269C7-06A6-4A3E-A965-655FE98264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2A8AE2E7-810D-4D0A-9981-85DE41376F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DFF2AC2A-3825-4CCA-BC03-B52231E0D2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FA231FB0-F375-443E-9D47-64495D2DF5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9.16470000000001</c:v>
                </c:pt>
                <c:pt idx="1">
                  <c:v>209.1335</c:v>
                </c:pt>
                <c:pt idx="2">
                  <c:v>190.24889999999999</c:v>
                </c:pt>
                <c:pt idx="3">
                  <c:v>243.03049999999999</c:v>
                </c:pt>
                <c:pt idx="4">
                  <c:v>628.96190000000001</c:v>
                </c:pt>
                <c:pt idx="5">
                  <c:v>208.48599999999999</c:v>
                </c:pt>
                <c:pt idx="6">
                  <c:v>804.16989999999998</c:v>
                </c:pt>
                <c:pt idx="7">
                  <c:v>700.29290000000003</c:v>
                </c:pt>
              </c:numCache>
            </c:numRef>
          </c:xVal>
          <c:yVal>
            <c:numRef>
              <c:f>Sheet1!$B$2:$B$9</c:f>
              <c:numCache>
                <c:formatCode>General</c:formatCode>
                <c:ptCount val="8"/>
                <c:pt idx="0">
                  <c:v>0.89600000000000002</c:v>
                </c:pt>
                <c:pt idx="1">
                  <c:v>0.80800000000000005</c:v>
                </c:pt>
                <c:pt idx="2">
                  <c:v>0.83499999999999996</c:v>
                </c:pt>
                <c:pt idx="3">
                  <c:v>3.976</c:v>
                </c:pt>
                <c:pt idx="4">
                  <c:v>4.8499999999999996</c:v>
                </c:pt>
                <c:pt idx="5">
                  <c:v>2.6579999999999999</c:v>
                </c:pt>
                <c:pt idx="6">
                  <c:v>5.03</c:v>
                </c:pt>
                <c:pt idx="7">
                  <c:v>2.597</c:v>
                </c:pt>
              </c:numCache>
            </c:numRef>
          </c:yVal>
          <c:bubbleSize>
            <c:numRef>
              <c:f>Sheet1!$C$2:$C$9</c:f>
              <c:numCache>
                <c:formatCode>General</c:formatCode>
                <c:ptCount val="8"/>
                <c:pt idx="0">
                  <c:v>281719220</c:v>
                </c:pt>
                <c:pt idx="1">
                  <c:v>237967126</c:v>
                </c:pt>
                <c:pt idx="2">
                  <c:v>99365838</c:v>
                </c:pt>
                <c:pt idx="3">
                  <c:v>26487655</c:v>
                </c:pt>
                <c:pt idx="4">
                  <c:v>18058126</c:v>
                </c:pt>
                <c:pt idx="5">
                  <c:v>12989092</c:v>
                </c:pt>
                <c:pt idx="6">
                  <c:v>10496025</c:v>
                </c:pt>
                <c:pt idx="7">
                  <c:v>9653538</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Loreal Paris</c:v>
                  </c:pt>
                  <c:pt idx="4">
                    <c:v>Isdin</c:v>
                  </c:pt>
                  <c:pt idx="5">
                    <c:v>Beauty Care</c:v>
                  </c:pt>
                  <c:pt idx="6">
                    <c:v>La Roche-Posay</c:v>
                  </c:pt>
                  <c:pt idx="7">
                    <c:v>Eucerin</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65"/>
          <c:min val="15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7E8DFA4B-A21B-4C22-B046-CF0D5E2CDD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BEE05D7E-9D42-410C-A0AA-85A2038207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9FF5F61F-38B9-4AAD-9DFF-1C091214AC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3C3B808E-825F-497A-8959-87AB88809B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54B4124D-BA26-40A4-8C57-D2169F0D6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FC1C7626-E227-4DDD-86E5-5C1E81CFC6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6F774610-8B8F-4227-A469-8DAEBF33E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0086DC35-25D4-4F36-9802-9274174F41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33.92490000000001</c:v>
                </c:pt>
                <c:pt idx="1">
                  <c:v>636.27970000000005</c:v>
                </c:pt>
                <c:pt idx="2">
                  <c:v>654.95699999999999</c:v>
                </c:pt>
                <c:pt idx="3">
                  <c:v>300.2527</c:v>
                </c:pt>
                <c:pt idx="4">
                  <c:v>417.04509999999999</c:v>
                </c:pt>
              </c:numCache>
            </c:numRef>
          </c:xVal>
          <c:yVal>
            <c:numRef>
              <c:f>Sheet1!$B$2:$B$6</c:f>
              <c:numCache>
                <c:formatCode>General</c:formatCode>
                <c:ptCount val="5"/>
                <c:pt idx="0">
                  <c:v>0.89700000000000002</c:v>
                </c:pt>
                <c:pt idx="1">
                  <c:v>1.6910000000000001</c:v>
                </c:pt>
                <c:pt idx="2">
                  <c:v>2.883</c:v>
                </c:pt>
                <c:pt idx="3">
                  <c:v>3.0939999999999999</c:v>
                </c:pt>
                <c:pt idx="4">
                  <c:v>5.335</c:v>
                </c:pt>
              </c:numCache>
            </c:numRef>
          </c:yVal>
          <c:bubbleSize>
            <c:numRef>
              <c:f>Sheet1!$C$2:$C$6</c:f>
              <c:numCache>
                <c:formatCode>General</c:formatCode>
                <c:ptCount val="5"/>
                <c:pt idx="0">
                  <c:v>92691787</c:v>
                </c:pt>
                <c:pt idx="1">
                  <c:v>6581041</c:v>
                </c:pt>
                <c:pt idx="2">
                  <c:v>4375768</c:v>
                </c:pt>
                <c:pt idx="3">
                  <c:v>4101452</c:v>
                </c:pt>
                <c:pt idx="4">
                  <c:v>2959352</c:v>
                </c:pt>
              </c:numCache>
            </c:numRef>
          </c:bubbleSize>
          <c:bubble3D val="0"/>
          <c:extLst>
            <c:ext xmlns:c15="http://schemas.microsoft.com/office/drawing/2012/chart" uri="{02D57815-91ED-43cb-92C2-25804820EDAC}">
              <c15:datalabelsRange>
                <c15:f>Sheet1!$E$2:$E$10</c15:f>
                <c15:dlblRangeCache>
                  <c:ptCount val="9"/>
                  <c:pt idx="0">
                    <c:v>Banana Boat</c:v>
                  </c:pt>
                  <c:pt idx="1">
                    <c:v>Isdin</c:v>
                  </c:pt>
                  <c:pt idx="2">
                    <c:v>La Roche-Posay</c:v>
                  </c:pt>
                  <c:pt idx="3">
                    <c:v>Eclipsol</c:v>
                  </c:pt>
                  <c:pt idx="4">
                    <c:v>Mustela</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6"/>
          <c:min val="18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A4C53C-3742-43F9-AE10-138DBD887C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5982150-31A4-4A9C-A44C-63AD64449B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9AB87E5-EFB0-4E40-BA9F-1FF9592F44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1A6FC21-CAEC-44D3-8010-AC9846B40A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D6F775A-E2F0-4595-88FB-90B16B0E32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5496E59-7878-40C2-8836-3328D89153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B7F3C15-247C-4D69-952F-11CD4DC817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397F057-C364-4FEF-9766-3565C480E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21.58029999999997</c:v>
                </c:pt>
                <c:pt idx="1">
                  <c:v>605.30100000000004</c:v>
                </c:pt>
                <c:pt idx="2">
                  <c:v>681.07219999999995</c:v>
                </c:pt>
                <c:pt idx="3">
                  <c:v>711.79589999999996</c:v>
                </c:pt>
                <c:pt idx="4">
                  <c:v>284.08139999999997</c:v>
                </c:pt>
                <c:pt idx="5">
                  <c:v>251.63939999999999</c:v>
                </c:pt>
                <c:pt idx="6">
                  <c:v>194.42529999999999</c:v>
                </c:pt>
                <c:pt idx="7">
                  <c:v>282.38249999999999</c:v>
                </c:pt>
              </c:numCache>
            </c:numRef>
          </c:xVal>
          <c:yVal>
            <c:numRef>
              <c:f>Sheet1!$B$2:$B$9</c:f>
              <c:numCache>
                <c:formatCode>General</c:formatCode>
                <c:ptCount val="8"/>
                <c:pt idx="0">
                  <c:v>1.6619999999999999</c:v>
                </c:pt>
                <c:pt idx="1">
                  <c:v>2.8319999999999999</c:v>
                </c:pt>
                <c:pt idx="2">
                  <c:v>2.4380000000000002</c:v>
                </c:pt>
                <c:pt idx="3">
                  <c:v>2.125</c:v>
                </c:pt>
                <c:pt idx="4">
                  <c:v>0.52900000000000003</c:v>
                </c:pt>
                <c:pt idx="5">
                  <c:v>0.31</c:v>
                </c:pt>
                <c:pt idx="6">
                  <c:v>0.30099999999999999</c:v>
                </c:pt>
                <c:pt idx="7">
                  <c:v>2.8719999999999999</c:v>
                </c:pt>
              </c:numCache>
            </c:numRef>
          </c:yVal>
          <c:bubbleSize>
            <c:numRef>
              <c:f>Sheet1!$C$2:$C$9</c:f>
              <c:numCache>
                <c:formatCode>General</c:formatCode>
                <c:ptCount val="8"/>
                <c:pt idx="0">
                  <c:v>452020654</c:v>
                </c:pt>
                <c:pt idx="1">
                  <c:v>303187392</c:v>
                </c:pt>
                <c:pt idx="2">
                  <c:v>204970054</c:v>
                </c:pt>
                <c:pt idx="3">
                  <c:v>196500511</c:v>
                </c:pt>
                <c:pt idx="4">
                  <c:v>188092032</c:v>
                </c:pt>
                <c:pt idx="5">
                  <c:v>104768549</c:v>
                </c:pt>
                <c:pt idx="6">
                  <c:v>99479662</c:v>
                </c:pt>
                <c:pt idx="7">
                  <c:v>530032</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Eucerin</c:v>
                  </c:pt>
                  <c:pt idx="3">
                    <c:v>Avene</c:v>
                  </c:pt>
                  <c:pt idx="4">
                    <c:v>Nivea</c:v>
                  </c:pt>
                  <c:pt idx="5">
                    <c:v>Hawaiian Tropic</c:v>
                  </c:pt>
                  <c:pt idx="6">
                    <c:v>Banana Boat</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4"/>
          <c:min val="15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99E39242-03C1-4F41-8157-49BBD4CFE5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CA-4C16-90F6-A0D9A3D8DA8E}"/>
                </c:ext>
              </c:extLst>
            </c:dLbl>
            <c:dLbl>
              <c:idx val="2"/>
              <c:tx>
                <c:rich>
                  <a:bodyPr/>
                  <a:lstStyle/>
                  <a:p>
                    <a:fld id="{8B38B68C-20F8-460A-BBA1-F2FCA52AC1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CA-4C16-90F6-A0D9A3D8DA8E}"/>
                </c:ext>
              </c:extLst>
            </c:dLbl>
            <c:dLbl>
              <c:idx val="3"/>
              <c:tx>
                <c:rich>
                  <a:bodyPr/>
                  <a:lstStyle/>
                  <a:p>
                    <a:fld id="{A35FCA3C-5A29-42DC-84CC-AB0FDDFFF4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6254CF9D-29B8-462C-BACE-60E38E12FC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36FEB4F8-FF13-4983-A57E-4D5A23A5C4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761847FE-572A-4530-A7DD-7A5ED3646A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34189A8B-2AED-4EF4-9F26-4E7A7B02B7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5B04E433-2D63-429C-AB41-EEBD14F068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7.71950000000001</c:v>
                </c:pt>
              </c:numCache>
            </c:numRef>
          </c:xVal>
          <c:yVal>
            <c:numRef>
              <c:f>Sheet1!$B$2:$B$2</c:f>
              <c:numCache>
                <c:formatCode>General</c:formatCode>
                <c:ptCount val="1"/>
                <c:pt idx="0">
                  <c:v>1</c:v>
                </c:pt>
              </c:numCache>
            </c:numRef>
          </c:yVal>
          <c:bubbleSize>
            <c:numRef>
              <c:f>Sheet1!$C$2:$C$2</c:f>
              <c:numCache>
                <c:formatCode>General</c:formatCode>
                <c:ptCount val="1"/>
                <c:pt idx="0">
                  <c:v>3235646</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9"/>
          <c:min val="16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5325115-6427-42D1-98F4-754C839ED4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FBD79AAE-70ED-4DED-98FD-EEADD0DDA5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3EF2790-B18E-42D6-98DC-E9EEDE32FC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95E5658-A24E-4C2A-A2D8-7A0B509D27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1B25041-5D90-4698-A1AF-EDBA18E39A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66FCCA8-DA31-4A7A-B098-829C0AFF6B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F0A700A-2C16-4142-A721-DB9977DB9C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E509821-D942-425A-B112-EC75F85DE7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4.5033</c:v>
                </c:pt>
              </c:numCache>
            </c:numRef>
          </c:xVal>
          <c:yVal>
            <c:numRef>
              <c:f>Sheet1!$B$2:$B$2</c:f>
              <c:numCache>
                <c:formatCode>General</c:formatCode>
                <c:ptCount val="1"/>
                <c:pt idx="0">
                  <c:v>0.92800000000000005</c:v>
                </c:pt>
              </c:numCache>
            </c:numRef>
          </c:yVal>
          <c:bubbleSize>
            <c:numRef>
              <c:f>Sheet1!$C$2:$C$2</c:f>
              <c:numCache>
                <c:formatCode>General</c:formatCode>
                <c:ptCount val="1"/>
                <c:pt idx="0">
                  <c:v>13053599</c:v>
                </c:pt>
              </c:numCache>
            </c:numRef>
          </c:bubbleSize>
          <c:bubble3D val="0"/>
          <c:extLst>
            <c:ext xmlns:c15="http://schemas.microsoft.com/office/drawing/2012/chart" uri="{02D57815-91ED-43cb-92C2-25804820EDAC}">
              <c15:datalabelsRange>
                <c15:f>Sheet1!$E$2:$E$10</c15:f>
                <c15:dlblRangeCache>
                  <c:ptCount val="9"/>
                  <c:pt idx="0">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7"/>
          <c:min val="17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E23A8FE6-D5CE-4F54-916B-329D4EFD2A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1B32AC8E-7047-4CC1-885D-64DC5F2AF8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0AE2EB46-404E-4DFB-8ED5-14ACE4B9D3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FA4FA309-776C-4094-BB43-7225A92F50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7056DE18-5CF5-48A9-80D1-FC3F23EEC0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DB544DE6-31AE-4B11-B37A-6FC44E9D0F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1F0394E6-FFBD-4F47-95AB-FD56A3E8D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0C08BF93-7392-40E4-AB49-9FE692348E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738.86839999999995</c:v>
                </c:pt>
                <c:pt idx="1">
                  <c:v>1043.2023999999999</c:v>
                </c:pt>
                <c:pt idx="2">
                  <c:v>252.8441</c:v>
                </c:pt>
                <c:pt idx="3">
                  <c:v>360.13420000000002</c:v>
                </c:pt>
                <c:pt idx="4">
                  <c:v>636.08339999999998</c:v>
                </c:pt>
                <c:pt idx="5">
                  <c:v>321.74520000000001</c:v>
                </c:pt>
              </c:numCache>
            </c:numRef>
          </c:xVal>
          <c:yVal>
            <c:numRef>
              <c:f>Sheet1!$B$2:$B$7</c:f>
              <c:numCache>
                <c:formatCode>General</c:formatCode>
                <c:ptCount val="6"/>
                <c:pt idx="0">
                  <c:v>1.224</c:v>
                </c:pt>
                <c:pt idx="1">
                  <c:v>2.4550000000000001</c:v>
                </c:pt>
                <c:pt idx="2">
                  <c:v>0.27400000000000002</c:v>
                </c:pt>
                <c:pt idx="3">
                  <c:v>0.98799999999999999</c:v>
                </c:pt>
                <c:pt idx="4">
                  <c:v>2.3290000000000002</c:v>
                </c:pt>
                <c:pt idx="5">
                  <c:v>1.0740000000000001</c:v>
                </c:pt>
              </c:numCache>
            </c:numRef>
          </c:yVal>
          <c:bubbleSize>
            <c:numRef>
              <c:f>Sheet1!$C$2:$C$7</c:f>
              <c:numCache>
                <c:formatCode>General</c:formatCode>
                <c:ptCount val="6"/>
                <c:pt idx="0">
                  <c:v>23557341</c:v>
                </c:pt>
                <c:pt idx="1">
                  <c:v>4051798</c:v>
                </c:pt>
                <c:pt idx="2">
                  <c:v>3012132</c:v>
                </c:pt>
                <c:pt idx="3">
                  <c:v>2739181</c:v>
                </c:pt>
                <c:pt idx="4">
                  <c:v>2243466</c:v>
                </c:pt>
                <c:pt idx="5">
                  <c:v>1190779</c:v>
                </c:pt>
              </c:numCache>
            </c:numRef>
          </c:bubbleSize>
          <c:bubble3D val="0"/>
          <c:extLst>
            <c:ext xmlns:c15="http://schemas.microsoft.com/office/drawing/2012/chart" uri="{02D57815-91ED-43cb-92C2-25804820EDAC}">
              <c15:datalabelsRange>
                <c15:f>Sheet1!$E$2:$E$10</c15:f>
                <c15:dlblRangeCache>
                  <c:ptCount val="9"/>
                  <c:pt idx="0">
                    <c:v>Photoderm</c:v>
                  </c:pt>
                  <c:pt idx="1">
                    <c:v>La Roche-Posay</c:v>
                  </c:pt>
                  <c:pt idx="2">
                    <c:v>Banana Boat</c:v>
                  </c:pt>
                  <c:pt idx="3">
                    <c:v>Australian Gold</c:v>
                  </c:pt>
                  <c:pt idx="4">
                    <c:v>Genove</c:v>
                  </c:pt>
                  <c:pt idx="5">
                    <c:v>Ocean Potion</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52"/>
          <c:min val="20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FB107789-485F-4975-AC4C-CB9D0C8A52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E29DED10-978B-4208-A3A6-E172BAA0E7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DE289060-2D82-43CB-A384-D752640515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887BDDFD-2620-4E38-93C4-AC94A47A7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5981B619-41B4-4CE1-A8CA-09E2DCDCC4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6598F26C-34B4-41C2-9049-FDE94E88F0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66B6FCF8-8FA1-4F0A-8451-E43F68EEDB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B41CB306-9002-473B-B80D-9657F61080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480.52710000000002</c:v>
                </c:pt>
                <c:pt idx="1">
                  <c:v>555.99919999999997</c:v>
                </c:pt>
                <c:pt idx="2">
                  <c:v>351.44110000000001</c:v>
                </c:pt>
              </c:numCache>
            </c:numRef>
          </c:xVal>
          <c:yVal>
            <c:numRef>
              <c:f>Sheet1!$B$2:$B$4</c:f>
              <c:numCache>
                <c:formatCode>General</c:formatCode>
                <c:ptCount val="3"/>
                <c:pt idx="0">
                  <c:v>1.476</c:v>
                </c:pt>
                <c:pt idx="1">
                  <c:v>0.68400000000000005</c:v>
                </c:pt>
                <c:pt idx="2">
                  <c:v>0.26</c:v>
                </c:pt>
              </c:numCache>
            </c:numRef>
          </c:yVal>
          <c:bubbleSize>
            <c:numRef>
              <c:f>Sheet1!$C$2:$C$4</c:f>
              <c:numCache>
                <c:formatCode>General</c:formatCode>
                <c:ptCount val="3"/>
                <c:pt idx="0">
                  <c:v>35235613</c:v>
                </c:pt>
                <c:pt idx="1">
                  <c:v>12520547</c:v>
                </c:pt>
                <c:pt idx="2">
                  <c:v>2155740</c:v>
                </c:pt>
              </c:numCache>
            </c:numRef>
          </c:bubbleSize>
          <c:bubble3D val="0"/>
          <c:extLst>
            <c:ext xmlns:c15="http://schemas.microsoft.com/office/drawing/2012/chart" uri="{02D57815-91ED-43cb-92C2-25804820EDAC}">
              <c15:datalabelsRange>
                <c15:f>Sheet1!$E$2:$E$10</c15:f>
                <c15:dlblRangeCache>
                  <c:ptCount val="9"/>
                  <c:pt idx="0">
                    <c:v>Isdin</c:v>
                  </c:pt>
                  <c:pt idx="1">
                    <c:v>Heliocare</c:v>
                  </c:pt>
                  <c:pt idx="2">
                    <c:v>Neutrogena</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7"/>
          <c:min val="28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177391E-0A08-4288-AD53-522D30F5EB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3296347-1860-4101-B80E-2EB927668F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3930760-AAC6-45D5-878C-589D0A8B3F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81DB92D-9987-4DC2-A031-D1372E0475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0823109-D397-4485-B8FE-32F0A29939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C0B9F33-ACD1-472B-B21C-205042B3DC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B683D97-6DA5-47A3-8AA4-2526BC0AF0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B1D7B31-9FE9-4D62-8FAD-60D7D5D2AF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574.96820000000002</c:v>
                </c:pt>
                <c:pt idx="1">
                  <c:v>652.13699999999994</c:v>
                </c:pt>
                <c:pt idx="2">
                  <c:v>698.27750000000003</c:v>
                </c:pt>
                <c:pt idx="3">
                  <c:v>760.58529999999996</c:v>
                </c:pt>
                <c:pt idx="4">
                  <c:v>776.75390000000004</c:v>
                </c:pt>
                <c:pt idx="5">
                  <c:v>395.63639999999998</c:v>
                </c:pt>
              </c:numCache>
            </c:numRef>
          </c:xVal>
          <c:yVal>
            <c:numRef>
              <c:f>Sheet1!$B$2:$B$7</c:f>
              <c:numCache>
                <c:formatCode>General</c:formatCode>
                <c:ptCount val="6"/>
                <c:pt idx="0">
                  <c:v>1.5189999999999999</c:v>
                </c:pt>
                <c:pt idx="1">
                  <c:v>0.73799999999999999</c:v>
                </c:pt>
                <c:pt idx="2">
                  <c:v>0.79</c:v>
                </c:pt>
                <c:pt idx="3">
                  <c:v>4.2210000000000001</c:v>
                </c:pt>
                <c:pt idx="4">
                  <c:v>0.95699999999999996</c:v>
                </c:pt>
                <c:pt idx="5">
                  <c:v>0.98799999999999999</c:v>
                </c:pt>
              </c:numCache>
            </c:numRef>
          </c:yVal>
          <c:bubbleSize>
            <c:numRef>
              <c:f>Sheet1!$C$2:$C$7</c:f>
              <c:numCache>
                <c:formatCode>General</c:formatCode>
                <c:ptCount val="6"/>
                <c:pt idx="0">
                  <c:v>22969979</c:v>
                </c:pt>
                <c:pt idx="1">
                  <c:v>21728553</c:v>
                </c:pt>
                <c:pt idx="2">
                  <c:v>3737181</c:v>
                </c:pt>
                <c:pt idx="3">
                  <c:v>2341842</c:v>
                </c:pt>
                <c:pt idx="4">
                  <c:v>602761</c:v>
                </c:pt>
                <c:pt idx="5">
                  <c:v>21760</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Heliocare</c:v>
                  </c:pt>
                  <c:pt idx="3">
                    <c:v>Vichy</c:v>
                  </c:pt>
                  <c:pt idx="4">
                    <c:v>Avene</c:v>
                  </c:pt>
                  <c:pt idx="5">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32"/>
          <c:min val="31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8FCB55CA-7407-49CA-8D6B-9C162FF232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2CC96443-6753-4269-BA90-48539A1409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7DA874C4-9F8C-4DD8-8E9B-688F7738E9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317BA7AB-9700-4D55-950D-48E57237B8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E005910C-D25B-48C7-B272-E028DAEA1F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033E0B49-F377-41D2-A7A6-8EF2A1BA59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3F5AE221-1034-45C1-A220-B3FE8FB42D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73DA4BDE-2C12-4B4D-A6B8-402FFF6A60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26.56700000000001</c:v>
                </c:pt>
                <c:pt idx="1">
                  <c:v>681.67589999999996</c:v>
                </c:pt>
                <c:pt idx="2">
                  <c:v>684.12149999999997</c:v>
                </c:pt>
                <c:pt idx="3">
                  <c:v>728.54459999999995</c:v>
                </c:pt>
                <c:pt idx="4">
                  <c:v>308.18990000000002</c:v>
                </c:pt>
                <c:pt idx="5">
                  <c:v>322.411</c:v>
                </c:pt>
                <c:pt idx="6">
                  <c:v>274.72609999999997</c:v>
                </c:pt>
                <c:pt idx="7">
                  <c:v>287.97719999999998</c:v>
                </c:pt>
              </c:numCache>
            </c:numRef>
          </c:xVal>
          <c:yVal>
            <c:numRef>
              <c:f>Sheet1!$B$2:$B$9</c:f>
              <c:numCache>
                <c:formatCode>General</c:formatCode>
                <c:ptCount val="8"/>
                <c:pt idx="0">
                  <c:v>2.653</c:v>
                </c:pt>
                <c:pt idx="1">
                  <c:v>1.5669999999999999</c:v>
                </c:pt>
                <c:pt idx="2">
                  <c:v>2.64</c:v>
                </c:pt>
                <c:pt idx="3">
                  <c:v>1.7809999999999999</c:v>
                </c:pt>
                <c:pt idx="4">
                  <c:v>0.72099999999999997</c:v>
                </c:pt>
                <c:pt idx="5">
                  <c:v>0.76</c:v>
                </c:pt>
                <c:pt idx="6">
                  <c:v>0.251</c:v>
                </c:pt>
                <c:pt idx="7">
                  <c:v>0.26900000000000002</c:v>
                </c:pt>
              </c:numCache>
            </c:numRef>
          </c:yVal>
          <c:bubbleSize>
            <c:numRef>
              <c:f>Sheet1!$C$2:$C$9</c:f>
              <c:numCache>
                <c:formatCode>General</c:formatCode>
                <c:ptCount val="8"/>
                <c:pt idx="0">
                  <c:v>236836703</c:v>
                </c:pt>
                <c:pt idx="1">
                  <c:v>115896495</c:v>
                </c:pt>
                <c:pt idx="2">
                  <c:v>79984060</c:v>
                </c:pt>
                <c:pt idx="3">
                  <c:v>77229369</c:v>
                </c:pt>
                <c:pt idx="4">
                  <c:v>76293336</c:v>
                </c:pt>
                <c:pt idx="5">
                  <c:v>58967363</c:v>
                </c:pt>
                <c:pt idx="6">
                  <c:v>27395964</c:v>
                </c:pt>
                <c:pt idx="7">
                  <c:v>23576115</c:v>
                </c:pt>
              </c:numCache>
            </c:numRef>
          </c:bubbleSize>
          <c:bubble3D val="0"/>
          <c:extLst>
            <c:ext xmlns:c15="http://schemas.microsoft.com/office/drawing/2012/chart" uri="{02D57815-91ED-43cb-92C2-25804820EDAC}">
              <c15:datalabelsRange>
                <c15:f>Sheet1!$E$2:$E$10</c15:f>
                <c15:dlblRangeCache>
                  <c:ptCount val="9"/>
                  <c:pt idx="0">
                    <c:v>Isdin</c:v>
                  </c:pt>
                  <c:pt idx="1">
                    <c:v>Avene</c:v>
                  </c:pt>
                  <c:pt idx="2">
                    <c:v>La Roche-Posay</c:v>
                  </c:pt>
                  <c:pt idx="3">
                    <c:v>Eucerin</c:v>
                  </c:pt>
                  <c:pt idx="4">
                    <c:v>Nivea</c:v>
                  </c:pt>
                  <c:pt idx="5">
                    <c:v>Neutrogena</c:v>
                  </c:pt>
                  <c:pt idx="6">
                    <c:v>Hawaiian Tropic</c:v>
                  </c:pt>
                  <c:pt idx="7">
                    <c:v>Banana Boa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74"/>
          <c:min val="22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D3BC1139-0829-4BA5-8AC9-23A11ADB17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141D42D8-9659-4A85-8142-8616F33C03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7814858D-E500-400B-9C7F-B80B057E89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D1997E0B-EBCE-4078-8835-028AE7EBDE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838FB2DE-050F-4AC7-9353-C7C37E801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DBF7E08B-3416-4D90-8D08-A34D01FFBE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8F871B1D-1230-4207-B674-0C0458DCAF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A143745B-A43F-4762-B4B5-764FA51A75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29.39239999999995</c:v>
                </c:pt>
                <c:pt idx="1">
                  <c:v>646.77200000000005</c:v>
                </c:pt>
                <c:pt idx="2">
                  <c:v>772.65</c:v>
                </c:pt>
                <c:pt idx="3">
                  <c:v>639.43899999999996</c:v>
                </c:pt>
                <c:pt idx="4">
                  <c:v>619.71360000000004</c:v>
                </c:pt>
                <c:pt idx="5">
                  <c:v>658.16420000000005</c:v>
                </c:pt>
                <c:pt idx="6">
                  <c:v>313.48149999999998</c:v>
                </c:pt>
                <c:pt idx="7">
                  <c:v>342.19639999999998</c:v>
                </c:pt>
              </c:numCache>
            </c:numRef>
          </c:xVal>
          <c:yVal>
            <c:numRef>
              <c:f>Sheet1!$B$2:$B$9</c:f>
              <c:numCache>
                <c:formatCode>General</c:formatCode>
                <c:ptCount val="8"/>
                <c:pt idx="0">
                  <c:v>0.92800000000000005</c:v>
                </c:pt>
                <c:pt idx="1">
                  <c:v>0.97399999999999998</c:v>
                </c:pt>
                <c:pt idx="2">
                  <c:v>1.2689999999999999</c:v>
                </c:pt>
                <c:pt idx="3">
                  <c:v>0.93799999999999994</c:v>
                </c:pt>
                <c:pt idx="4">
                  <c:v>0.92200000000000004</c:v>
                </c:pt>
                <c:pt idx="5">
                  <c:v>1.468</c:v>
                </c:pt>
                <c:pt idx="6">
                  <c:v>0.59599999999999997</c:v>
                </c:pt>
                <c:pt idx="7">
                  <c:v>0</c:v>
                </c:pt>
              </c:numCache>
            </c:numRef>
          </c:yVal>
          <c:bubbleSize>
            <c:numRef>
              <c:f>Sheet1!$C$2:$C$9</c:f>
              <c:numCache>
                <c:formatCode>General</c:formatCode>
                <c:ptCount val="8"/>
                <c:pt idx="0">
                  <c:v>120217088</c:v>
                </c:pt>
                <c:pt idx="1">
                  <c:v>55895332</c:v>
                </c:pt>
                <c:pt idx="2">
                  <c:v>51773732</c:v>
                </c:pt>
                <c:pt idx="3">
                  <c:v>23370856</c:v>
                </c:pt>
                <c:pt idx="4">
                  <c:v>16949787</c:v>
                </c:pt>
                <c:pt idx="5">
                  <c:v>15586645</c:v>
                </c:pt>
                <c:pt idx="6">
                  <c:v>5359907</c:v>
                </c:pt>
                <c:pt idx="7">
                  <c:v>38326</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Avene</c:v>
                  </c:pt>
                  <c:pt idx="3">
                    <c:v>Heliocare</c:v>
                  </c:pt>
                  <c:pt idx="4">
                    <c:v>Eucerin</c:v>
                  </c:pt>
                  <c:pt idx="5">
                    <c:v>Photoderm</c:v>
                  </c:pt>
                  <c:pt idx="6">
                    <c:v>Nivea</c:v>
                  </c:pt>
                  <c:pt idx="7">
                    <c:v>Banana Boat</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27"/>
          <c:min val="25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36A282F1-D5E3-4ED5-A65E-6A18FF356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6787BCAE-A2D2-4104-BCB9-0969C684E5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EA2A28AA-B9EE-461C-B45B-08A7CB29CB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56DAFDB1-A4A8-4622-BC2E-27BAE27133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0CCC7812-96BB-4DC0-A37D-3B2BE038BE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AA46D2A3-0663-4416-A8BD-769FCC8B30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222C438A-AB4F-46B9-8B35-83D59198BC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96F933AF-626D-4752-BA99-F63B50EEE2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640.50599999999997</c:v>
                </c:pt>
                <c:pt idx="1">
                  <c:v>648.19640000000004</c:v>
                </c:pt>
                <c:pt idx="2">
                  <c:v>586.74339999999995</c:v>
                </c:pt>
                <c:pt idx="3">
                  <c:v>337.60390000000001</c:v>
                </c:pt>
                <c:pt idx="4">
                  <c:v>661.21299999999997</c:v>
                </c:pt>
                <c:pt idx="5">
                  <c:v>786.29650000000004</c:v>
                </c:pt>
                <c:pt idx="6">
                  <c:v>523.94230000000005</c:v>
                </c:pt>
              </c:numCache>
            </c:numRef>
          </c:xVal>
          <c:yVal>
            <c:numRef>
              <c:f>Sheet1!$B$2:$B$8</c:f>
              <c:numCache>
                <c:formatCode>General</c:formatCode>
                <c:ptCount val="7"/>
                <c:pt idx="0">
                  <c:v>0.58799999999999997</c:v>
                </c:pt>
                <c:pt idx="1">
                  <c:v>2.94</c:v>
                </c:pt>
                <c:pt idx="2">
                  <c:v>2.6509999999999998</c:v>
                </c:pt>
                <c:pt idx="3">
                  <c:v>0.41199999999999998</c:v>
                </c:pt>
                <c:pt idx="4">
                  <c:v>2.6960000000000002</c:v>
                </c:pt>
                <c:pt idx="5">
                  <c:v>6.0030000000000001</c:v>
                </c:pt>
                <c:pt idx="6">
                  <c:v>1.18</c:v>
                </c:pt>
              </c:numCache>
            </c:numRef>
          </c:yVal>
          <c:bubbleSize>
            <c:numRef>
              <c:f>Sheet1!$C$2:$C$8</c:f>
              <c:numCache>
                <c:formatCode>General</c:formatCode>
                <c:ptCount val="7"/>
                <c:pt idx="0">
                  <c:v>88726737</c:v>
                </c:pt>
                <c:pt idx="1">
                  <c:v>69410170</c:v>
                </c:pt>
                <c:pt idx="2">
                  <c:v>51697378</c:v>
                </c:pt>
                <c:pt idx="3">
                  <c:v>30352613</c:v>
                </c:pt>
                <c:pt idx="4">
                  <c:v>21966819</c:v>
                </c:pt>
                <c:pt idx="5">
                  <c:v>10846174</c:v>
                </c:pt>
                <c:pt idx="6">
                  <c:v>4515335</c:v>
                </c:pt>
              </c:numCache>
            </c:numRef>
          </c:bubbleSize>
          <c:bubble3D val="0"/>
          <c:extLst>
            <c:ext xmlns:c15="http://schemas.microsoft.com/office/drawing/2012/chart" uri="{02D57815-91ED-43cb-92C2-25804820EDAC}">
              <c15:datalabelsRange>
                <c15:f>Sheet1!$E$2:$E$10</c15:f>
                <c15:dlblRangeCache>
                  <c:ptCount val="9"/>
                  <c:pt idx="0">
                    <c:v>Isdin</c:v>
                  </c:pt>
                  <c:pt idx="1">
                    <c:v>Eucerin</c:v>
                  </c:pt>
                  <c:pt idx="2">
                    <c:v>La Roche-Posay</c:v>
                  </c:pt>
                  <c:pt idx="3">
                    <c:v>Nivea</c:v>
                  </c:pt>
                  <c:pt idx="4">
                    <c:v>Heliocare</c:v>
                  </c:pt>
                  <c:pt idx="5">
                    <c:v>Photoderm</c:v>
                  </c:pt>
                  <c:pt idx="6">
                    <c:v>Cetaphil</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44"/>
          <c:min val="27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884F9CA-7F61-4A68-862D-BB4A81A1A4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8DC5532-9A75-4FBA-B9AD-8B025563F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B73F951-916C-4A3C-8875-4B04018528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8AF4BA2-F435-4DD0-95A9-6314FB7DC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F802F99-26F4-40DC-AB1C-12139AB7A2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50CA65C-D089-4469-B7FE-9BFE3B6599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57AC6A5-BAC3-4E3C-AC4B-8091F512C5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E607E7D-7BC7-4B8E-A1C4-787FD1F1B1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693.9</c:v>
                </c:pt>
                <c:pt idx="1">
                  <c:v>831.80759999999998</c:v>
                </c:pt>
              </c:numCache>
            </c:numRef>
          </c:xVal>
          <c:yVal>
            <c:numRef>
              <c:f>Sheet1!$B$2:$B$3</c:f>
              <c:numCache>
                <c:formatCode>General</c:formatCode>
                <c:ptCount val="2"/>
                <c:pt idx="0">
                  <c:v>0.88400000000000001</c:v>
                </c:pt>
                <c:pt idx="1">
                  <c:v>2.4860000000000002</c:v>
                </c:pt>
              </c:numCache>
            </c:numRef>
          </c:yVal>
          <c:bubbleSize>
            <c:numRef>
              <c:f>Sheet1!$C$2:$C$3</c:f>
              <c:numCache>
                <c:formatCode>General</c:formatCode>
                <c:ptCount val="2"/>
                <c:pt idx="0">
                  <c:v>31886093</c:v>
                </c:pt>
                <c:pt idx="1">
                  <c:v>6997997</c:v>
                </c:pt>
              </c:numCache>
            </c:numRef>
          </c:bubbleSize>
          <c:bubble3D val="0"/>
          <c:extLst>
            <c:ext xmlns:c15="http://schemas.microsoft.com/office/drawing/2012/chart" uri="{02D57815-91ED-43cb-92C2-25804820EDAC}">
              <c15:datalabelsRange>
                <c15:f>Sheet1!$E$2:$E$10</c15:f>
                <c15:dlblRangeCache>
                  <c:ptCount val="9"/>
                  <c:pt idx="0">
                    <c:v>Eucerin</c:v>
                  </c:pt>
                  <c:pt idx="1">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98"/>
          <c:min val="55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7E23EFE7-FAC9-4CD3-978F-DA9BB6E95C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8AA99B81-DEEB-4FFC-871A-7ACC4CEFF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7E30C940-A2E6-4FF0-B38F-5B038CBA15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2143CEB9-A85C-43AB-A65D-6FD4F690CF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EF3A0848-5DCF-48FA-A99C-0D2D9E7068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BCCE77C9-6BDF-4FD8-9732-AA9FF7B4C5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3065936A-54C1-435A-AF95-1E851B0E8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D63B3B51-18B7-453B-AD87-18AA0BA713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7.43469999999999</c:v>
                </c:pt>
                <c:pt idx="1">
                  <c:v>243.1917</c:v>
                </c:pt>
                <c:pt idx="2">
                  <c:v>174.00470000000001</c:v>
                </c:pt>
                <c:pt idx="3">
                  <c:v>637.64200000000005</c:v>
                </c:pt>
                <c:pt idx="4">
                  <c:v>877.44539999999995</c:v>
                </c:pt>
                <c:pt idx="5">
                  <c:v>614.92139999999995</c:v>
                </c:pt>
                <c:pt idx="6">
                  <c:v>524.34870000000001</c:v>
                </c:pt>
                <c:pt idx="7">
                  <c:v>282.38249999999999</c:v>
                </c:pt>
              </c:numCache>
            </c:numRef>
          </c:xVal>
          <c:yVal>
            <c:numRef>
              <c:f>Sheet1!$B$2:$B$9</c:f>
              <c:numCache>
                <c:formatCode>General</c:formatCode>
                <c:ptCount val="8"/>
                <c:pt idx="0">
                  <c:v>0.77900000000000003</c:v>
                </c:pt>
                <c:pt idx="1">
                  <c:v>0.66400000000000003</c:v>
                </c:pt>
                <c:pt idx="2">
                  <c:v>0.70299999999999996</c:v>
                </c:pt>
                <c:pt idx="3">
                  <c:v>3.8740000000000001</c:v>
                </c:pt>
                <c:pt idx="4">
                  <c:v>4.2080000000000002</c:v>
                </c:pt>
                <c:pt idx="5">
                  <c:v>1.23</c:v>
                </c:pt>
                <c:pt idx="6">
                  <c:v>2.0019999999999998</c:v>
                </c:pt>
                <c:pt idx="7">
                  <c:v>5.7880000000000003</c:v>
                </c:pt>
              </c:numCache>
            </c:numRef>
          </c:yVal>
          <c:bubbleSize>
            <c:numRef>
              <c:f>Sheet1!$C$2:$C$9</c:f>
              <c:numCache>
                <c:formatCode>General</c:formatCode>
                <c:ptCount val="8"/>
                <c:pt idx="0">
                  <c:v>75533658</c:v>
                </c:pt>
                <c:pt idx="1">
                  <c:v>63653251</c:v>
                </c:pt>
                <c:pt idx="2">
                  <c:v>35286075</c:v>
                </c:pt>
                <c:pt idx="3">
                  <c:v>13405148</c:v>
                </c:pt>
                <c:pt idx="4">
                  <c:v>8344506</c:v>
                </c:pt>
                <c:pt idx="5">
                  <c:v>7937406</c:v>
                </c:pt>
                <c:pt idx="6">
                  <c:v>7648674</c:v>
                </c:pt>
                <c:pt idx="7">
                  <c:v>530032</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La Roche-Posay</c:v>
                  </c:pt>
                  <c:pt idx="5">
                    <c:v>Avene</c:v>
                  </c:pt>
                  <c:pt idx="6">
                    <c:v>Cetaphil</c:v>
                  </c:pt>
                  <c:pt idx="7">
                    <c:v>Beauty Ca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53"/>
          <c:min val="13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247992E-F6BD-45D4-8E25-62CB6FCD08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CB11F99-3EB5-415D-A56A-19D18FF071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B2F4F96-3796-4108-AA0D-2647D378AF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223B22F-F2FD-4436-BEC7-EB7753F1AA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7FBBD5D-631E-471F-9771-7D2048F542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5BEDED1-9129-42C8-8743-48F6C1A9D3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3CAFEA3-58AC-4DB7-B2A0-8BE5442EAC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9CE4840-DC5B-499D-93CF-C0471300F3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6.23769999999999</c:v>
                </c:pt>
                <c:pt idx="1">
                  <c:v>451.89089999999999</c:v>
                </c:pt>
                <c:pt idx="2">
                  <c:v>209.54249999999999</c:v>
                </c:pt>
                <c:pt idx="3">
                  <c:v>158.24529999999999</c:v>
                </c:pt>
                <c:pt idx="4">
                  <c:v>80.124899999999997</c:v>
                </c:pt>
                <c:pt idx="5">
                  <c:v>96.877300000000005</c:v>
                </c:pt>
                <c:pt idx="6">
                  <c:v>291.05380000000002</c:v>
                </c:pt>
                <c:pt idx="7">
                  <c:v>205.88</c:v>
                </c:pt>
              </c:numCache>
            </c:numRef>
          </c:xVal>
          <c:yVal>
            <c:numRef>
              <c:f>Sheet1!$B$2:$B$9</c:f>
              <c:numCache>
                <c:formatCode>General</c:formatCode>
                <c:ptCount val="8"/>
                <c:pt idx="0">
                  <c:v>1.33</c:v>
                </c:pt>
                <c:pt idx="1">
                  <c:v>3.661</c:v>
                </c:pt>
                <c:pt idx="2">
                  <c:v>0.90200000000000002</c:v>
                </c:pt>
                <c:pt idx="3">
                  <c:v>0.66800000000000004</c:v>
                </c:pt>
                <c:pt idx="4">
                  <c:v>0.49399999999999999</c:v>
                </c:pt>
                <c:pt idx="5">
                  <c:v>0.61699999999999999</c:v>
                </c:pt>
                <c:pt idx="6">
                  <c:v>1.7809999999999999</c:v>
                </c:pt>
                <c:pt idx="7">
                  <c:v>1.3120000000000001</c:v>
                </c:pt>
              </c:numCache>
            </c:numRef>
          </c:yVal>
          <c:bubbleSize>
            <c:numRef>
              <c:f>Sheet1!$C$2:$C$9</c:f>
              <c:numCache>
                <c:formatCode>General</c:formatCode>
                <c:ptCount val="8"/>
                <c:pt idx="0">
                  <c:v>8697512</c:v>
                </c:pt>
                <c:pt idx="1">
                  <c:v>2920119</c:v>
                </c:pt>
                <c:pt idx="2">
                  <c:v>2109674</c:v>
                </c:pt>
                <c:pt idx="3">
                  <c:v>1330843</c:v>
                </c:pt>
                <c:pt idx="4">
                  <c:v>1209966</c:v>
                </c:pt>
                <c:pt idx="5">
                  <c:v>1076307</c:v>
                </c:pt>
                <c:pt idx="6">
                  <c:v>400490</c:v>
                </c:pt>
                <c:pt idx="7">
                  <c:v>5147</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Banana Boat</c:v>
                  </c:pt>
                  <c:pt idx="3">
                    <c:v>Hawaiian Tropic</c:v>
                  </c:pt>
                  <c:pt idx="4">
                    <c:v>Caribbean Beach</c:v>
                  </c:pt>
                  <c:pt idx="5">
                    <c:v>Nuvel</c:v>
                  </c:pt>
                  <c:pt idx="6">
                    <c:v>Eclipsol</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2"/>
          <c:min val="6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88A0684A-B783-42DB-8C0B-29F2D2EE8F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F2EB13FC-4AA2-43F6-8D6E-F1D5A6AE99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6DE8C667-D240-4665-835F-DBB5673AB1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6C170A15-95DB-4A4E-9E22-CB0D52B61A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CA2FBBF3-CD4F-4700-8246-086418C96D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B63B2224-44E8-40F1-8C91-794228E44C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757AFC7F-4800-4C6E-9614-4FC1B4FC9F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CF793A6B-2C03-4C60-9A10-D3BC8D890A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99.21340000000001</c:v>
                </c:pt>
                <c:pt idx="1">
                  <c:v>648.63059999999996</c:v>
                </c:pt>
                <c:pt idx="2">
                  <c:v>331.2047</c:v>
                </c:pt>
                <c:pt idx="3">
                  <c:v>721.35090000000002</c:v>
                </c:pt>
                <c:pt idx="4">
                  <c:v>412.82</c:v>
                </c:pt>
              </c:numCache>
            </c:numRef>
          </c:xVal>
          <c:yVal>
            <c:numRef>
              <c:f>Sheet1!$B$2:$B$6</c:f>
              <c:numCache>
                <c:formatCode>General</c:formatCode>
                <c:ptCount val="5"/>
                <c:pt idx="0">
                  <c:v>0.81399999999999995</c:v>
                </c:pt>
                <c:pt idx="1">
                  <c:v>1.363</c:v>
                </c:pt>
                <c:pt idx="2">
                  <c:v>2.7040000000000002</c:v>
                </c:pt>
                <c:pt idx="3">
                  <c:v>2.4049999999999998</c:v>
                </c:pt>
                <c:pt idx="4">
                  <c:v>4.4470000000000001</c:v>
                </c:pt>
              </c:numCache>
            </c:numRef>
          </c:yVal>
          <c:bubbleSize>
            <c:numRef>
              <c:f>Sheet1!$C$2:$C$6</c:f>
              <c:numCache>
                <c:formatCode>General</c:formatCode>
                <c:ptCount val="5"/>
                <c:pt idx="0">
                  <c:v>24318781</c:v>
                </c:pt>
                <c:pt idx="1">
                  <c:v>4895215</c:v>
                </c:pt>
                <c:pt idx="2">
                  <c:v>2831469</c:v>
                </c:pt>
                <c:pt idx="3">
                  <c:v>2783693</c:v>
                </c:pt>
                <c:pt idx="4">
                  <c:v>1969977</c:v>
                </c:pt>
              </c:numCache>
            </c:numRef>
          </c:bubbleSize>
          <c:bubble3D val="0"/>
          <c:extLst>
            <c:ext xmlns:c15="http://schemas.microsoft.com/office/drawing/2012/chart" uri="{02D57815-91ED-43cb-92C2-25804820EDAC}">
              <c15:datalabelsRange>
                <c15:f>Sheet1!$E$2:$E$10</c15:f>
                <c15:dlblRangeCache>
                  <c:ptCount val="9"/>
                  <c:pt idx="0">
                    <c:v>Banana Boat</c:v>
                  </c:pt>
                  <c:pt idx="1">
                    <c:v>Isdin</c:v>
                  </c:pt>
                  <c:pt idx="2">
                    <c:v>Eclipsol</c:v>
                  </c:pt>
                  <c:pt idx="3">
                    <c:v>La Roche-Posay</c:v>
                  </c:pt>
                  <c:pt idx="4">
                    <c:v>Mustela</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66"/>
          <c:min val="15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8967D975-A98C-4C24-B2D4-B3CE8A6F9B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CA-4C16-90F6-A0D9A3D8DA8E}"/>
                </c:ext>
              </c:extLst>
            </c:dLbl>
            <c:dLbl>
              <c:idx val="2"/>
              <c:tx>
                <c:rich>
                  <a:bodyPr/>
                  <a:lstStyle/>
                  <a:p>
                    <a:fld id="{6F2D8974-25F8-413B-9158-D245D8AA8B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CA-4C16-90F6-A0D9A3D8DA8E}"/>
                </c:ext>
              </c:extLst>
            </c:dLbl>
            <c:dLbl>
              <c:idx val="3"/>
              <c:tx>
                <c:rich>
                  <a:bodyPr/>
                  <a:lstStyle/>
                  <a:p>
                    <a:fld id="{7EB6A680-FF1A-4211-9C22-5E53019850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C563107E-A23C-4EAE-A2CC-8836B974A7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8D6BE80F-C1CA-4D80-B385-8A9C26919A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79E7E2B5-A76F-4AEE-9671-23C3DA1D7B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278C1703-8088-4E22-ACD3-8D42C7E774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88B03F3F-5F27-449F-9802-FD8DD2B46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68.09210000000002</c:v>
                </c:pt>
              </c:numCache>
            </c:numRef>
          </c:xVal>
          <c:yVal>
            <c:numRef>
              <c:f>Sheet1!$B$2:$B$2</c:f>
              <c:numCache>
                <c:formatCode>General</c:formatCode>
                <c:ptCount val="1"/>
                <c:pt idx="0">
                  <c:v>1</c:v>
                </c:pt>
              </c:numCache>
            </c:numRef>
          </c:yVal>
          <c:bubbleSize>
            <c:numRef>
              <c:f>Sheet1!$C$2:$C$2</c:f>
              <c:numCache>
                <c:formatCode>General</c:formatCode>
                <c:ptCount val="1"/>
                <c:pt idx="0">
                  <c:v>238602</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2"/>
          <c:min val="2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F0FB469-81D7-407B-9B04-EACE7F30FD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79917868-5492-4F71-9814-AFBEF70B55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612877B-3121-408C-A661-D5B0B6895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5FCE806-F2F6-4033-BF63-03E5551E33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46D3CA7-5A9F-4FB0-BD7A-0AED59D8D1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390E22D-DB9D-417D-A8BD-8B4C2877F6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115CC23-64AD-4A5A-8B13-4703C0D8DD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0AD6736-15AF-41B1-85AD-6112498AEE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34.5549</c:v>
                </c:pt>
              </c:numCache>
            </c:numRef>
          </c:xVal>
          <c:yVal>
            <c:numRef>
              <c:f>Sheet1!$B$2:$B$2</c:f>
              <c:numCache>
                <c:formatCode>General</c:formatCode>
                <c:ptCount val="1"/>
                <c:pt idx="0">
                  <c:v>0.80300000000000005</c:v>
                </c:pt>
              </c:numCache>
            </c:numRef>
          </c:yVal>
          <c:bubbleSize>
            <c:numRef>
              <c:f>Sheet1!$C$2:$C$2</c:f>
              <c:numCache>
                <c:formatCode>General</c:formatCode>
                <c:ptCount val="1"/>
                <c:pt idx="0">
                  <c:v>3247882</c:v>
                </c:pt>
              </c:numCache>
            </c:numRef>
          </c:bubbleSize>
          <c:bubble3D val="0"/>
          <c:extLst>
            <c:ext xmlns:c15="http://schemas.microsoft.com/office/drawing/2012/chart" uri="{02D57815-91ED-43cb-92C2-25804820EDAC}">
              <c15:datalabelsRange>
                <c15:f>Sheet1!$E$2:$E$10</c15:f>
                <c15:dlblRangeCache>
                  <c:ptCount val="9"/>
                  <c:pt idx="0">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1"/>
          <c:min val="18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B993E4D1-B992-4FDB-A40A-EAEBEB95ED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147B3182-EF01-4435-B8F7-85A4D3DC5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AB4EA934-C7A6-4DC2-8BA3-27D3B4900D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AF2B2D1C-6DC2-4934-A43A-A6DDA7D37F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86FE6DA8-8F09-4015-BD43-EFA05382F4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E2A67A15-5815-41DD-B5A1-495A077D00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0D2301F9-83C9-401A-B897-04DA6DB802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606BBB14-31CA-407B-AED4-01A73E6FBB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750.1001</c:v>
                </c:pt>
                <c:pt idx="1">
                  <c:v>1110.2319</c:v>
                </c:pt>
                <c:pt idx="2">
                  <c:v>631.07150000000001</c:v>
                </c:pt>
              </c:numCache>
            </c:numRef>
          </c:xVal>
          <c:yVal>
            <c:numRef>
              <c:f>Sheet1!$B$2:$B$4</c:f>
              <c:numCache>
                <c:formatCode>General</c:formatCode>
                <c:ptCount val="3"/>
                <c:pt idx="0">
                  <c:v>0.89700000000000002</c:v>
                </c:pt>
                <c:pt idx="1">
                  <c:v>1.853</c:v>
                </c:pt>
                <c:pt idx="2">
                  <c:v>1.6910000000000001</c:v>
                </c:pt>
              </c:numCache>
            </c:numRef>
          </c:yVal>
          <c:bubbleSize>
            <c:numRef>
              <c:f>Sheet1!$C$2:$C$4</c:f>
              <c:numCache>
                <c:formatCode>General</c:formatCode>
                <c:ptCount val="3"/>
                <c:pt idx="0">
                  <c:v>20864033</c:v>
                </c:pt>
                <c:pt idx="1">
                  <c:v>3767017</c:v>
                </c:pt>
                <c:pt idx="2">
                  <c:v>2206857</c:v>
                </c:pt>
              </c:numCache>
            </c:numRef>
          </c:bubbleSize>
          <c:bubble3D val="0"/>
          <c:extLst>
            <c:ext xmlns:c15="http://schemas.microsoft.com/office/drawing/2012/chart" uri="{02D57815-91ED-43cb-92C2-25804820EDAC}">
              <c15:datalabelsRange>
                <c15:f>Sheet1!$E$2:$E$10</c15:f>
                <c15:dlblRangeCache>
                  <c:ptCount val="9"/>
                  <c:pt idx="0">
                    <c:v>Photoderm</c:v>
                  </c:pt>
                  <c:pt idx="1">
                    <c:v>La Roche-Posay</c:v>
                  </c:pt>
                  <c:pt idx="2">
                    <c:v>Genov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32"/>
          <c:min val="50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FD7F7560-9C14-49E0-B7F0-F99F6F75C8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A454A1E3-EA8A-4F63-B240-35EDE5E8FA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41C680BA-DBDB-4328-B0E1-3B964D0E78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038E1406-3F09-49BC-99B5-FA1781C68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94197CD2-71E6-48F1-9B76-1E51322458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A30A756C-B4E9-4A3B-9ED2-5574017558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CA7D209A-31DC-4DE4-86F2-6A1015CF72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DB9A3B7E-5314-4DB3-9B46-C9FD6CB4A5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489.36520000000002</c:v>
                </c:pt>
                <c:pt idx="1">
                  <c:v>555.08360000000005</c:v>
                </c:pt>
              </c:numCache>
            </c:numRef>
          </c:xVal>
          <c:yVal>
            <c:numRef>
              <c:f>Sheet1!$B$2:$B$3</c:f>
              <c:numCache>
                <c:formatCode>General</c:formatCode>
                <c:ptCount val="2"/>
                <c:pt idx="0">
                  <c:v>1.357</c:v>
                </c:pt>
                <c:pt idx="1">
                  <c:v>0.60499999999999998</c:v>
                </c:pt>
              </c:numCache>
            </c:numRef>
          </c:yVal>
          <c:bubbleSize>
            <c:numRef>
              <c:f>Sheet1!$C$2:$C$3</c:f>
              <c:numCache>
                <c:formatCode>General</c:formatCode>
                <c:ptCount val="2"/>
                <c:pt idx="0">
                  <c:v>30527089</c:v>
                </c:pt>
                <c:pt idx="1">
                  <c:v>12418886</c:v>
                </c:pt>
              </c:numCache>
            </c:numRef>
          </c:bubbleSize>
          <c:bubble3D val="0"/>
          <c:extLst>
            <c:ext xmlns:c15="http://schemas.microsoft.com/office/drawing/2012/chart" uri="{02D57815-91ED-43cb-92C2-25804820EDAC}">
              <c15:datalabelsRange>
                <c15:f>Sheet1!$E$2:$E$10</c15:f>
                <c15:dlblRangeCache>
                  <c:ptCount val="9"/>
                  <c:pt idx="0">
                    <c:v>Isdin</c:v>
                  </c:pt>
                  <c:pt idx="1">
                    <c:v>Heliocar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6"/>
          <c:min val="39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936DC90-D607-4612-B58A-A4D3C90C24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543088E-FB4B-470C-B971-3DD3EB48CE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BB08B37-0721-4BAE-85C1-C7D385828B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01D56AF-4E64-436C-AA37-7910F16464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4338928-0263-4C83-B30E-2A7186F114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00080C6-8D3F-43A2-B1EE-1C1A7DBA80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6DB20A8-15B5-4E84-8F91-57B99487A8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1D54F0A-D262-4ADF-AFBE-F45880CE5F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2.5838</c:v>
                </c:pt>
                <c:pt idx="1">
                  <c:v>427.95409999999998</c:v>
                </c:pt>
                <c:pt idx="2">
                  <c:v>242.91040000000001</c:v>
                </c:pt>
                <c:pt idx="3">
                  <c:v>80.124899999999997</c:v>
                </c:pt>
                <c:pt idx="4">
                  <c:v>96.877300000000005</c:v>
                </c:pt>
                <c:pt idx="5">
                  <c:v>291.05380000000002</c:v>
                </c:pt>
                <c:pt idx="6">
                  <c:v>213.35749999999999</c:v>
                </c:pt>
              </c:numCache>
            </c:numRef>
          </c:xVal>
          <c:yVal>
            <c:numRef>
              <c:f>Sheet1!$B$2:$B$8</c:f>
              <c:numCache>
                <c:formatCode>General</c:formatCode>
                <c:ptCount val="7"/>
                <c:pt idx="0">
                  <c:v>2.1219999999999999</c:v>
                </c:pt>
                <c:pt idx="1">
                  <c:v>6.7889999999999997</c:v>
                </c:pt>
                <c:pt idx="2">
                  <c:v>0.81100000000000005</c:v>
                </c:pt>
                <c:pt idx="3">
                  <c:v>0.505</c:v>
                </c:pt>
                <c:pt idx="4">
                  <c:v>0.63</c:v>
                </c:pt>
                <c:pt idx="5">
                  <c:v>1.8180000000000001</c:v>
                </c:pt>
                <c:pt idx="6">
                  <c:v>0.76900000000000002</c:v>
                </c:pt>
              </c:numCache>
            </c:numRef>
          </c:yVal>
          <c:bubbleSize>
            <c:numRef>
              <c:f>Sheet1!$C$2:$C$8</c:f>
              <c:numCache>
                <c:formatCode>General</c:formatCode>
                <c:ptCount val="7"/>
                <c:pt idx="0">
                  <c:v>3097552</c:v>
                </c:pt>
                <c:pt idx="1">
                  <c:v>1947191</c:v>
                </c:pt>
                <c:pt idx="2">
                  <c:v>1233013</c:v>
                </c:pt>
                <c:pt idx="3">
                  <c:v>1209966</c:v>
                </c:pt>
                <c:pt idx="4">
                  <c:v>1076307</c:v>
                </c:pt>
                <c:pt idx="5">
                  <c:v>400490</c:v>
                </c:pt>
                <c:pt idx="6">
                  <c:v>393858</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Banana Boat</c:v>
                  </c:pt>
                  <c:pt idx="3">
                    <c:v>Caribbean Beach</c:v>
                  </c:pt>
                  <c:pt idx="4">
                    <c:v>Nuvel</c:v>
                  </c:pt>
                  <c:pt idx="5">
                    <c:v>Eclipsol</c:v>
                  </c:pt>
                  <c:pt idx="6">
                    <c:v>Hawaiian Trop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14"/>
          <c:min val="6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C6EC2FB4-069A-4071-BE90-CCF345E30F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C5453900-05B3-414E-A2D8-78CE6D5479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4F80C956-A232-485C-829B-46C499C2AC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09940BAF-E50D-4BD2-A94A-749020D1FF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E404FE5D-8A45-4F95-BC86-5002A5C693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96A83BDB-AF54-4C75-910B-923731CFCA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1188C2F7-9DCB-4EA9-8292-E1C5FD805F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9E4E97DD-5B53-44BA-B3C7-BAE5B81F42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650.38699999999994</c:v>
                </c:pt>
              </c:numCache>
            </c:numRef>
          </c:xVal>
          <c:yVal>
            <c:numRef>
              <c:f>Sheet1!$B$2:$B$2</c:f>
              <c:numCache>
                <c:formatCode>General</c:formatCode>
                <c:ptCount val="1"/>
                <c:pt idx="0">
                  <c:v>1</c:v>
                </c:pt>
              </c:numCache>
            </c:numRef>
          </c:yVal>
          <c:bubbleSize>
            <c:numRef>
              <c:f>Sheet1!$C$2:$C$2</c:f>
              <c:numCache>
                <c:formatCode>General</c:formatCode>
                <c:ptCount val="1"/>
                <c:pt idx="0">
                  <c:v>290723</c:v>
                </c:pt>
              </c:numCache>
            </c:numRef>
          </c:bubbleSize>
          <c:bubble3D val="0"/>
          <c:extLst>
            <c:ext xmlns:c15="http://schemas.microsoft.com/office/drawing/2012/chart" uri="{02D57815-91ED-43cb-92C2-25804820EDAC}">
              <c15:datalabelsRange>
                <c15:f>Sheet1!$E$2:$E$10</c15:f>
                <c15:dlblRangeCache>
                  <c:ptCount val="9"/>
                  <c:pt idx="0">
                    <c:v>Isdin</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0"/>
          <c:min val="52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CA34249F-63FF-477B-B0D5-D77E74E25E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34B0E6AB-FFB8-4C06-A2B1-5173B6A92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23A22C94-30A7-4C2A-AD0A-AB4E128215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864BB83B-56E0-4639-9A0F-BE659B08CC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AB94FC16-551B-43BF-91D7-71FD9B90AD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73C60D6A-3330-4EF2-8703-4A850FDA4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1740AB76-E258-4718-89FD-93FD0A3ADA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ECBC1F5E-59D9-4580-BE06-4DB930799C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77.00709999999998</c:v>
                </c:pt>
                <c:pt idx="1">
                  <c:v>465.66890000000001</c:v>
                </c:pt>
              </c:numCache>
            </c:numRef>
          </c:xVal>
          <c:yVal>
            <c:numRef>
              <c:f>Sheet1!$B$2:$B$3</c:f>
              <c:numCache>
                <c:formatCode>General</c:formatCode>
                <c:ptCount val="2"/>
                <c:pt idx="0">
                  <c:v>0.99099999999999999</c:v>
                </c:pt>
                <c:pt idx="1">
                  <c:v>1.016</c:v>
                </c:pt>
              </c:numCache>
            </c:numRef>
          </c:yVal>
          <c:bubbleSize>
            <c:numRef>
              <c:f>Sheet1!$C$2:$C$3</c:f>
              <c:numCache>
                <c:formatCode>General</c:formatCode>
                <c:ptCount val="2"/>
                <c:pt idx="0">
                  <c:v>1204704</c:v>
                </c:pt>
                <c:pt idx="1">
                  <c:v>682205</c:v>
                </c:pt>
              </c:numCache>
            </c:numRef>
          </c:bubbleSize>
          <c:bubble3D val="0"/>
          <c:extLst>
            <c:ext xmlns:c15="http://schemas.microsoft.com/office/drawing/2012/chart" uri="{02D57815-91ED-43cb-92C2-25804820EDAC}">
              <c15:datalabelsRange>
                <c15:f>Sheet1!$E$2:$E$10</c15:f>
                <c15:dlblRangeCache>
                  <c:ptCount val="9"/>
                  <c:pt idx="0">
                    <c:v>Nivea</c:v>
                  </c:pt>
                  <c:pt idx="1">
                    <c:v>Isdin</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59"/>
          <c:min val="22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1720D335-273D-4BF9-920F-021B3AD59C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16999E8D-720C-4FE8-A5FB-F788F46C79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13CC3397-5D3E-4D82-BDBF-31AD2D70A9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62294DD4-1F3D-4B10-BAB6-FAE1F7400F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26CAD257-ED11-4C92-8BD8-92D8F62986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DAA11F9B-FEDD-4DEC-A83F-49B201B0B6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2DE7053A-87FF-4F75-B5CF-33AA32B023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C350D288-0D53-461C-A5F6-20BCC908CF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90.7534</c:v>
                </c:pt>
                <c:pt idx="1">
                  <c:v>154.00649999999999</c:v>
                </c:pt>
                <c:pt idx="2">
                  <c:v>125.0885</c:v>
                </c:pt>
                <c:pt idx="3">
                  <c:v>205.88</c:v>
                </c:pt>
              </c:numCache>
            </c:numRef>
          </c:xVal>
          <c:yVal>
            <c:numRef>
              <c:f>Sheet1!$B$2:$B$5</c:f>
              <c:numCache>
                <c:formatCode>General</c:formatCode>
                <c:ptCount val="4"/>
                <c:pt idx="0">
                  <c:v>1.024</c:v>
                </c:pt>
                <c:pt idx="1">
                  <c:v>0.84799999999999998</c:v>
                </c:pt>
                <c:pt idx="2">
                  <c:v>0.93700000000000006</c:v>
                </c:pt>
                <c:pt idx="3">
                  <c:v>1.2709999999999999</c:v>
                </c:pt>
              </c:numCache>
            </c:numRef>
          </c:yVal>
          <c:bubbleSize>
            <c:numRef>
              <c:f>Sheet1!$C$2:$C$5</c:f>
              <c:numCache>
                <c:formatCode>General</c:formatCode>
                <c:ptCount val="4"/>
                <c:pt idx="0">
                  <c:v>4361194</c:v>
                </c:pt>
                <c:pt idx="1">
                  <c:v>589229</c:v>
                </c:pt>
                <c:pt idx="2">
                  <c:v>359004</c:v>
                </c:pt>
                <c:pt idx="3">
                  <c:v>5147</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Beauty Care</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7"/>
          <c:min val="10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C8F79F6-CA53-494C-A9C9-2CF374DAF7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4F6F403-843A-42D6-8F57-C820F29E8C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BC92CEC-28E5-4095-BA7C-356C36EBF7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422701C-88E1-4597-A524-D457DD4034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D69775D-A737-4D70-8543-70B945581A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D13DB37-793F-4237-99E3-CF3C4CF444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6D8ECCA-3D93-47FE-856F-5AF30DEE4F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A6DBFCD-EDD8-4C3D-AEB9-AE2EF5873F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43.9477</c:v>
                </c:pt>
                <c:pt idx="1">
                  <c:v>219.7927</c:v>
                </c:pt>
              </c:numCache>
            </c:numRef>
          </c:xVal>
          <c:yVal>
            <c:numRef>
              <c:f>Sheet1!$B$2:$B$3</c:f>
              <c:numCache>
                <c:formatCode>General</c:formatCode>
                <c:ptCount val="2"/>
                <c:pt idx="0">
                  <c:v>1.0840000000000001</c:v>
                </c:pt>
                <c:pt idx="1">
                  <c:v>0.82499999999999996</c:v>
                </c:pt>
              </c:numCache>
            </c:numRef>
          </c:yVal>
          <c:bubbleSize>
            <c:numRef>
              <c:f>Sheet1!$C$2:$C$3</c:f>
              <c:numCache>
                <c:formatCode>General</c:formatCode>
                <c:ptCount val="2"/>
                <c:pt idx="0">
                  <c:v>517657</c:v>
                </c:pt>
                <c:pt idx="1">
                  <c:v>36046</c:v>
                </c:pt>
              </c:numCache>
            </c:numRef>
          </c:bubbleSize>
          <c:bubble3D val="0"/>
          <c:extLst>
            <c:ext xmlns:c15="http://schemas.microsoft.com/office/drawing/2012/chart" uri="{02D57815-91ED-43cb-92C2-25804820EDAC}">
              <c15:datalabelsRange>
                <c15:f>Sheet1!$E$2:$E$10</c15:f>
                <c15:dlblRangeCache>
                  <c:ptCount val="9"/>
                  <c:pt idx="0">
                    <c:v>Banana Boat</c:v>
                  </c:pt>
                  <c:pt idx="1">
                    <c:v>Neutrogen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3"/>
          <c:min val="17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75622D-964A-4C84-99F3-541733CF3E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C6F9970-F9EA-475E-8251-913D61865E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819EC5C-51A8-44F1-98A6-05F9C3412A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623FAB2-6432-4E37-A7C4-69D32A0B8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FBF7168-F7E2-40CD-8334-1BB42F1192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DEB936E-81EF-4A8F-A247-2A11F31140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2A662FD-4636-42FB-83A3-7FE121F35C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600CF37-54DF-4C73-82E3-6D2355A7B2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13380000000001</c:v>
                </c:pt>
                <c:pt idx="1">
                  <c:v>209.15610000000001</c:v>
                </c:pt>
                <c:pt idx="2">
                  <c:v>222.7422</c:v>
                </c:pt>
                <c:pt idx="3">
                  <c:v>577.1653</c:v>
                </c:pt>
                <c:pt idx="4">
                  <c:v>289.72449999999998</c:v>
                </c:pt>
                <c:pt idx="5">
                  <c:v>84.481200000000001</c:v>
                </c:pt>
                <c:pt idx="6">
                  <c:v>506.83350000000002</c:v>
                </c:pt>
                <c:pt idx="7">
                  <c:v>206.30250000000001</c:v>
                </c:pt>
              </c:numCache>
            </c:numRef>
          </c:xVal>
          <c:yVal>
            <c:numRef>
              <c:f>Sheet1!$B$2:$B$9</c:f>
              <c:numCache>
                <c:formatCode>General</c:formatCode>
                <c:ptCount val="8"/>
                <c:pt idx="0">
                  <c:v>1.038</c:v>
                </c:pt>
                <c:pt idx="1">
                  <c:v>0.746</c:v>
                </c:pt>
                <c:pt idx="2">
                  <c:v>0.72599999999999998</c:v>
                </c:pt>
                <c:pt idx="3">
                  <c:v>4.18</c:v>
                </c:pt>
                <c:pt idx="4">
                  <c:v>2.0569999999999999</c:v>
                </c:pt>
                <c:pt idx="5">
                  <c:v>0.41599999999999998</c:v>
                </c:pt>
                <c:pt idx="6">
                  <c:v>6.3529999999999998</c:v>
                </c:pt>
                <c:pt idx="7">
                  <c:v>2.5569999999999999</c:v>
                </c:pt>
              </c:numCache>
            </c:numRef>
          </c:yVal>
          <c:bubbleSize>
            <c:numRef>
              <c:f>Sheet1!$C$2:$C$9</c:f>
              <c:numCache>
                <c:formatCode>General</c:formatCode>
                <c:ptCount val="8"/>
                <c:pt idx="0">
                  <c:v>536202668</c:v>
                </c:pt>
                <c:pt idx="1">
                  <c:v>269083052</c:v>
                </c:pt>
                <c:pt idx="2">
                  <c:v>215531333</c:v>
                </c:pt>
                <c:pt idx="3">
                  <c:v>108131910</c:v>
                </c:pt>
                <c:pt idx="4">
                  <c:v>102115148</c:v>
                </c:pt>
                <c:pt idx="5">
                  <c:v>62392994</c:v>
                </c:pt>
                <c:pt idx="6">
                  <c:v>50910918</c:v>
                </c:pt>
                <c:pt idx="7">
                  <c:v>12459021</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La Roche-Posay</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
          <c:min val="6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6F75ED8-DDD9-4EEB-81BA-DDD98CF8AD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19779261-D736-4AD6-BBA7-9C6DD27139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A42DE400-758C-4E48-AF69-0EA98217DA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86DCFC61-5974-4A29-BBBD-15DC28DD55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DB8D30F5-032A-46D9-B34C-8FCE0DC2C6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17EA7F46-BAAB-4726-AB66-035B1D3094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9C9E4707-4BAD-4C47-9699-3F88E32EFD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925CDCB6-B0C9-473A-A333-2EB0DD5667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45.64230000000001</c:v>
                </c:pt>
              </c:numCache>
            </c:numRef>
          </c:xVal>
          <c:yVal>
            <c:numRef>
              <c:f>Sheet1!$B$2:$B$2</c:f>
              <c:numCache>
                <c:formatCode>General</c:formatCode>
                <c:ptCount val="1"/>
                <c:pt idx="0">
                  <c:v>1</c:v>
                </c:pt>
              </c:numCache>
            </c:numRef>
          </c:yVal>
          <c:bubbleSize>
            <c:numRef>
              <c:f>Sheet1!$C$2:$C$2</c:f>
              <c:numCache>
                <c:formatCode>General</c:formatCode>
                <c:ptCount val="1"/>
                <c:pt idx="0">
                  <c:v>90642</c:v>
                </c:pt>
              </c:numCache>
            </c:numRef>
          </c:bubbleSize>
          <c:bubble3D val="0"/>
          <c:extLst>
            <c:ext xmlns:c15="http://schemas.microsoft.com/office/drawing/2012/chart" uri="{02D57815-91ED-43cb-92C2-25804820EDAC}">
              <c15:datalabelsRange>
                <c15:f>Sheet1!$E$2:$E$10</c15:f>
                <c15:dlblRangeCache>
                  <c:ptCount val="9"/>
                  <c:pt idx="0">
                    <c:v>Garni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5"/>
          <c:min val="19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271818-8E33-4471-8B2C-0DAD028D9F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D442118-6709-41FE-A693-18AAA0B963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D8B9364-1554-4F58-A121-1C93AC007A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5ABE3C8-D458-4944-AF9D-522C9E5897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8A08895-000E-40B5-85F8-43C20B9C8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7697371-1B3C-4FFD-9228-903C46888D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9A2273B-0CA1-47D7-B86C-F2D128EA9E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16AEB68-EEE3-4770-ADBB-CC7CD9A008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597.39189999999996</c:v>
                </c:pt>
                <c:pt idx="1">
                  <c:v>490.33460000000002</c:v>
                </c:pt>
                <c:pt idx="2">
                  <c:v>644.59540000000004</c:v>
                </c:pt>
              </c:numCache>
            </c:numRef>
          </c:xVal>
          <c:yVal>
            <c:numRef>
              <c:f>Sheet1!$B$2:$B$4</c:f>
              <c:numCache>
                <c:formatCode>General</c:formatCode>
                <c:ptCount val="3"/>
                <c:pt idx="0">
                  <c:v>1.1519999999999999</c:v>
                </c:pt>
                <c:pt idx="1">
                  <c:v>2.149</c:v>
                </c:pt>
                <c:pt idx="2">
                  <c:v>2.8420000000000001</c:v>
                </c:pt>
              </c:numCache>
            </c:numRef>
          </c:yVal>
          <c:bubbleSize>
            <c:numRef>
              <c:f>Sheet1!$C$2:$C$4</c:f>
              <c:numCache>
                <c:formatCode>General</c:formatCode>
                <c:ptCount val="3"/>
                <c:pt idx="0">
                  <c:v>7450074</c:v>
                </c:pt>
                <c:pt idx="1">
                  <c:v>5051427</c:v>
                </c:pt>
                <c:pt idx="2">
                  <c:v>1432291</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Vich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74"/>
          <c:min val="39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F8943CC-70B2-4B87-A008-F8C5C46DF7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67E16A72-A482-4B9A-A5CA-D49B5637A6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D103F59C-AEA4-451C-A9AE-C4B5379B49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2B0B044B-7481-4CE0-832A-3CB2A62327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37219AFD-AA98-4EC3-8057-95C2A3130D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72B3A8B2-51FA-4117-8FC4-F8BECE2DAA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1B689148-A112-4D57-BCDA-14629E8AA7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F02F65E9-1D35-4814-9B46-DBB71BF9AB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3.6815</c:v>
                </c:pt>
                <c:pt idx="1">
                  <c:v>290.39980000000003</c:v>
                </c:pt>
                <c:pt idx="2">
                  <c:v>238.27600000000001</c:v>
                </c:pt>
                <c:pt idx="3">
                  <c:v>239.1284</c:v>
                </c:pt>
                <c:pt idx="4">
                  <c:v>84.7851</c:v>
                </c:pt>
                <c:pt idx="5">
                  <c:v>583.70219999999995</c:v>
                </c:pt>
                <c:pt idx="6">
                  <c:v>74.360500000000002</c:v>
                </c:pt>
                <c:pt idx="7">
                  <c:v>185.8261</c:v>
                </c:pt>
              </c:numCache>
            </c:numRef>
          </c:xVal>
          <c:yVal>
            <c:numRef>
              <c:f>Sheet1!$B$2:$B$9</c:f>
              <c:numCache>
                <c:formatCode>General</c:formatCode>
                <c:ptCount val="8"/>
                <c:pt idx="0">
                  <c:v>1.4079999999999999</c:v>
                </c:pt>
                <c:pt idx="1">
                  <c:v>1.9490000000000001</c:v>
                </c:pt>
                <c:pt idx="2">
                  <c:v>0.70899999999999996</c:v>
                </c:pt>
                <c:pt idx="3">
                  <c:v>0.64700000000000002</c:v>
                </c:pt>
                <c:pt idx="4">
                  <c:v>0.40500000000000003</c:v>
                </c:pt>
                <c:pt idx="5">
                  <c:v>7.6680000000000001</c:v>
                </c:pt>
                <c:pt idx="6">
                  <c:v>0.38</c:v>
                </c:pt>
                <c:pt idx="7">
                  <c:v>2.8849999999999998</c:v>
                </c:pt>
              </c:numCache>
            </c:numRef>
          </c:yVal>
          <c:bubbleSize>
            <c:numRef>
              <c:f>Sheet1!$C$2:$C$9</c:f>
              <c:numCache>
                <c:formatCode>General</c:formatCode>
                <c:ptCount val="8"/>
                <c:pt idx="0">
                  <c:v>216369464</c:v>
                </c:pt>
                <c:pt idx="1">
                  <c:v>99185766</c:v>
                </c:pt>
                <c:pt idx="2">
                  <c:v>72656085</c:v>
                </c:pt>
                <c:pt idx="3">
                  <c:v>66279225</c:v>
                </c:pt>
                <c:pt idx="4">
                  <c:v>61986759</c:v>
                </c:pt>
                <c:pt idx="5">
                  <c:v>57072654</c:v>
                </c:pt>
                <c:pt idx="6">
                  <c:v>23746346</c:v>
                </c:pt>
                <c:pt idx="7">
                  <c:v>20689324</c:v>
                </c:pt>
              </c:numCache>
            </c:numRef>
          </c:bubbleSize>
          <c:bubble3D val="0"/>
          <c:extLst>
            <c:ext xmlns:c15="http://schemas.microsoft.com/office/drawing/2012/chart" uri="{02D57815-91ED-43cb-92C2-25804820EDAC}">
              <c15:datalabelsRange>
                <c15:f>Sheet1!$E$2:$E$10</c15:f>
                <c15:dlblRangeCache>
                  <c:ptCount val="9"/>
                  <c:pt idx="0">
                    <c:v>Nivea</c:v>
                  </c:pt>
                  <c:pt idx="1">
                    <c:v>Neutrogena</c:v>
                  </c:pt>
                  <c:pt idx="2">
                    <c:v>Hawaiian Tropic</c:v>
                  </c:pt>
                  <c:pt idx="3">
                    <c:v>Banana Boat</c:v>
                  </c:pt>
                  <c:pt idx="4">
                    <c:v>Caribbean Beach</c:v>
                  </c:pt>
                  <c:pt idx="5">
                    <c:v>Isdin</c:v>
                  </c:pt>
                  <c:pt idx="6">
                    <c:v>Nuvel</c:v>
                  </c:pt>
                  <c:pt idx="7">
                    <c:v>Garni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0"/>
          <c:min val="5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686FB172-0ED4-4DBC-ADEB-2151CC80D1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27AC4789-1CB5-4849-B2D1-9AFDBD34BD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32C5606A-22B2-4D64-8A3A-9FC61E6412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26A7A723-C373-4160-8AA4-D1D6218E67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193ECDEA-5213-4FBA-95C2-DE79D7242E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589C8259-E055-451C-865B-BD5CE74BBF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F771B0FC-9355-45DC-A999-D7B0310AAC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002179FF-E016-4604-B4FC-A0CB52477D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51.95619999999997</c:v>
                </c:pt>
                <c:pt idx="1">
                  <c:v>580.10599999999999</c:v>
                </c:pt>
                <c:pt idx="2">
                  <c:v>243.3535</c:v>
                </c:pt>
                <c:pt idx="3">
                  <c:v>533.79150000000004</c:v>
                </c:pt>
                <c:pt idx="4">
                  <c:v>524.24919999999997</c:v>
                </c:pt>
                <c:pt idx="5">
                  <c:v>369.12920000000003</c:v>
                </c:pt>
                <c:pt idx="6">
                  <c:v>269.45240000000001</c:v>
                </c:pt>
              </c:numCache>
            </c:numRef>
          </c:xVal>
          <c:yVal>
            <c:numRef>
              <c:f>Sheet1!$B$2:$B$8</c:f>
              <c:numCache>
                <c:formatCode>General</c:formatCode>
                <c:ptCount val="7"/>
                <c:pt idx="0">
                  <c:v>1.123</c:v>
                </c:pt>
                <c:pt idx="1">
                  <c:v>1.3009999999999999</c:v>
                </c:pt>
                <c:pt idx="2">
                  <c:v>0.56799999999999995</c:v>
                </c:pt>
                <c:pt idx="3">
                  <c:v>1.8520000000000001</c:v>
                </c:pt>
                <c:pt idx="4">
                  <c:v>1.0369999999999999</c:v>
                </c:pt>
                <c:pt idx="5">
                  <c:v>1.389</c:v>
                </c:pt>
                <c:pt idx="6">
                  <c:v>0.51600000000000001</c:v>
                </c:pt>
              </c:numCache>
            </c:numRef>
          </c:yVal>
          <c:bubbleSize>
            <c:numRef>
              <c:f>Sheet1!$C$2:$C$8</c:f>
              <c:numCache>
                <c:formatCode>General</c:formatCode>
                <c:ptCount val="7"/>
                <c:pt idx="0">
                  <c:v>17135479</c:v>
                </c:pt>
                <c:pt idx="1">
                  <c:v>14920906</c:v>
                </c:pt>
                <c:pt idx="2">
                  <c:v>11123445</c:v>
                </c:pt>
                <c:pt idx="3">
                  <c:v>4767826</c:v>
                </c:pt>
                <c:pt idx="4">
                  <c:v>4638557</c:v>
                </c:pt>
                <c:pt idx="5">
                  <c:v>2334373</c:v>
                </c:pt>
                <c:pt idx="6">
                  <c:v>676056</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Nivea</c:v>
                  </c:pt>
                  <c:pt idx="3">
                    <c:v>Avene</c:v>
                  </c:pt>
                  <c:pt idx="4">
                    <c:v>Eucerin</c:v>
                  </c:pt>
                  <c:pt idx="5">
                    <c:v>Photoderm</c:v>
                  </c:pt>
                  <c:pt idx="6">
                    <c:v>Banana Boat</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6"/>
          <c:min val="19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D2A35299-07C3-42E9-8EED-7B980E0DF2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C68BE303-0995-4662-AA44-28E7A29FA6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878D4412-57AC-4029-AE22-B8008A52C4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A5169093-535A-4BD7-AA4B-BF3CF3EDE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CA1652D5-30D4-4148-92E8-85BA0B0FE7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381E7550-5B7A-42C6-8249-58BAFA9FAE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789654AA-A625-4E81-9551-FD19157410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BF32B77B-14B9-4701-BF0E-F8BFA22AAC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58.05040000000002</c:v>
                </c:pt>
                <c:pt idx="1">
                  <c:v>591.13890000000004</c:v>
                </c:pt>
                <c:pt idx="2">
                  <c:v>552.87980000000005</c:v>
                </c:pt>
                <c:pt idx="3">
                  <c:v>539.27739999999994</c:v>
                </c:pt>
                <c:pt idx="4">
                  <c:v>567.20190000000002</c:v>
                </c:pt>
                <c:pt idx="5">
                  <c:v>467.96749999999997</c:v>
                </c:pt>
              </c:numCache>
            </c:numRef>
          </c:xVal>
          <c:yVal>
            <c:numRef>
              <c:f>Sheet1!$B$2:$B$7</c:f>
              <c:numCache>
                <c:formatCode>General</c:formatCode>
                <c:ptCount val="6"/>
                <c:pt idx="0">
                  <c:v>0.79900000000000004</c:v>
                </c:pt>
                <c:pt idx="1">
                  <c:v>1.417</c:v>
                </c:pt>
                <c:pt idx="2">
                  <c:v>6.5259999999999998</c:v>
                </c:pt>
                <c:pt idx="3">
                  <c:v>6.6909999999999998</c:v>
                </c:pt>
                <c:pt idx="4">
                  <c:v>41.033000000000001</c:v>
                </c:pt>
                <c:pt idx="5">
                  <c:v>3.1779999999999999</c:v>
                </c:pt>
              </c:numCache>
            </c:numRef>
          </c:yVal>
          <c:bubbleSize>
            <c:numRef>
              <c:f>Sheet1!$C$2:$C$7</c:f>
              <c:numCache>
                <c:formatCode>General</c:formatCode>
                <c:ptCount val="6"/>
                <c:pt idx="0">
                  <c:v>91166125</c:v>
                </c:pt>
                <c:pt idx="1">
                  <c:v>17641359</c:v>
                </c:pt>
                <c:pt idx="2">
                  <c:v>11875859</c:v>
                </c:pt>
                <c:pt idx="3">
                  <c:v>5504944</c:v>
                </c:pt>
                <c:pt idx="4">
                  <c:v>1573418</c:v>
                </c:pt>
                <c:pt idx="5">
                  <c:v>1323880</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Eucerin</c:v>
                  </c:pt>
                  <c:pt idx="3">
                    <c:v>La Roche-Posay</c:v>
                  </c:pt>
                  <c:pt idx="4">
                    <c:v>Photoderm</c:v>
                  </c:pt>
                  <c:pt idx="5">
                    <c:v>Cetaphil</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
          <c:min val="20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6889809-E236-48AE-8A55-5C84CABB4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CAC7C72-FE5C-4B3A-9508-F5942A3D0C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0C8897B-5063-41AB-BB9A-073B14178E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51F98A6-FCAB-4BF5-9C39-1429F611FA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49712B6-E70E-41C6-B784-270A2B3D14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603EA04-FFBC-4987-BE38-70F6D6D6D4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693DB00-5498-40FC-B038-E342FC4880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486A434-5733-47D9-A4D1-295099FFF8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602.04489999999998</c:v>
                </c:pt>
                <c:pt idx="1">
                  <c:v>627.20219999999995</c:v>
                </c:pt>
              </c:numCache>
            </c:numRef>
          </c:xVal>
          <c:yVal>
            <c:numRef>
              <c:f>Sheet1!$B$2:$B$3</c:f>
              <c:numCache>
                <c:formatCode>General</c:formatCode>
                <c:ptCount val="2"/>
                <c:pt idx="0">
                  <c:v>0.90200000000000002</c:v>
                </c:pt>
                <c:pt idx="1">
                  <c:v>0</c:v>
                </c:pt>
              </c:numCache>
            </c:numRef>
          </c:yVal>
          <c:bubbleSize>
            <c:numRef>
              <c:f>Sheet1!$C$2:$C$3</c:f>
              <c:numCache>
                <c:formatCode>General</c:formatCode>
                <c:ptCount val="2"/>
                <c:pt idx="0">
                  <c:v>2562303</c:v>
                </c:pt>
                <c:pt idx="1">
                  <c:v>279105</c:v>
                </c:pt>
              </c:numCache>
            </c:numRef>
          </c:bubbleSize>
          <c:bubble3D val="0"/>
          <c:extLst>
            <c:ext xmlns:c15="http://schemas.microsoft.com/office/drawing/2012/chart" uri="{02D57815-91ED-43cb-92C2-25804820EDAC}">
              <c15:datalabelsRange>
                <c15:f>Sheet1!$E$2:$E$10</c15:f>
                <c15:dlblRangeCache>
                  <c:ptCount val="9"/>
                  <c:pt idx="0">
                    <c:v>Eucerin</c:v>
                  </c:pt>
                  <c:pt idx="1">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53"/>
          <c:min val="48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11BF060-165F-4DBA-B431-B6DEB35206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2C56C14F-4A78-4295-A377-4F7CD5BC2D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F413DEB5-E7AC-4F5C-BDFF-8844BED133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2140C8B3-5BFA-460E-AC59-943978EB2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7C78373C-99B4-4AA7-8DDE-AC8D5E6A2F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FFAF8A8F-9504-4FAF-B530-0243F5D1D9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E51A638E-8511-4EFC-9947-9F8B209190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9D5CFE02-06F9-4BAF-8C17-02BAA09F96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36.91249999999999</c:v>
                </c:pt>
                <c:pt idx="1">
                  <c:v>198.89670000000001</c:v>
                </c:pt>
                <c:pt idx="2">
                  <c:v>200.6215</c:v>
                </c:pt>
                <c:pt idx="3">
                  <c:v>247.20529999999999</c:v>
                </c:pt>
                <c:pt idx="4">
                  <c:v>206.30250000000001</c:v>
                </c:pt>
              </c:numCache>
            </c:numRef>
          </c:xVal>
          <c:yVal>
            <c:numRef>
              <c:f>Sheet1!$B$2:$B$6</c:f>
              <c:numCache>
                <c:formatCode>General</c:formatCode>
                <c:ptCount val="5"/>
                <c:pt idx="0">
                  <c:v>0.96799999999999997</c:v>
                </c:pt>
                <c:pt idx="1">
                  <c:v>0.89</c:v>
                </c:pt>
                <c:pt idx="2">
                  <c:v>0.90100000000000002</c:v>
                </c:pt>
                <c:pt idx="3">
                  <c:v>4.5359999999999996</c:v>
                </c:pt>
                <c:pt idx="4">
                  <c:v>2.9039999999999999</c:v>
                </c:pt>
              </c:numCache>
            </c:numRef>
          </c:yVal>
          <c:bubbleSize>
            <c:numRef>
              <c:f>Sheet1!$C$2:$C$6</c:f>
              <c:numCache>
                <c:formatCode>General</c:formatCode>
                <c:ptCount val="5"/>
                <c:pt idx="0">
                  <c:v>204773926</c:v>
                </c:pt>
                <c:pt idx="1">
                  <c:v>173833330</c:v>
                </c:pt>
                <c:pt idx="2">
                  <c:v>64017528</c:v>
                </c:pt>
                <c:pt idx="3">
                  <c:v>19748491</c:v>
                </c:pt>
                <c:pt idx="4">
                  <c:v>12459021</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Loreal Paris</c:v>
                  </c:pt>
                  <c:pt idx="4">
                    <c:v>Beauty Ca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7"/>
          <c:min val="15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5174E2CC-189F-4DD5-80EE-BFDC9A25DD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89FC3B12-CFAF-48E9-9CF2-5530083A3E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7DA40C4B-FD4D-4983-AC5D-CC58B0892A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6878815F-4733-4EAE-A969-6290817D2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46BA7552-2F59-41A9-B74F-96F90B7E0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1DA0D458-047E-4A09-9719-49DDE57B54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41C99E07-AC59-4C21-A78B-7E4D9B80CC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6C94A549-747B-4C2B-A8FB-5B7DF0CACD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9.33860000000001</c:v>
                </c:pt>
                <c:pt idx="1">
                  <c:v>597.97450000000003</c:v>
                </c:pt>
                <c:pt idx="2">
                  <c:v>566.36</c:v>
                </c:pt>
                <c:pt idx="3">
                  <c:v>246.7004</c:v>
                </c:pt>
                <c:pt idx="4">
                  <c:v>424.61759999999998</c:v>
                </c:pt>
              </c:numCache>
            </c:numRef>
          </c:xVal>
          <c:yVal>
            <c:numRef>
              <c:f>Sheet1!$B$2:$B$6</c:f>
              <c:numCache>
                <c:formatCode>General</c:formatCode>
                <c:ptCount val="5"/>
                <c:pt idx="0">
                  <c:v>0.94799999999999995</c:v>
                </c:pt>
                <c:pt idx="1">
                  <c:v>2.04</c:v>
                </c:pt>
                <c:pt idx="2">
                  <c:v>3.4569999999999999</c:v>
                </c:pt>
                <c:pt idx="3">
                  <c:v>3.952</c:v>
                </c:pt>
                <c:pt idx="4">
                  <c:v>5.5679999999999996</c:v>
                </c:pt>
              </c:numCache>
            </c:numRef>
          </c:yVal>
          <c:bubbleSize>
            <c:numRef>
              <c:f>Sheet1!$C$2:$C$6</c:f>
              <c:numCache>
                <c:formatCode>General</c:formatCode>
                <c:ptCount val="5"/>
                <c:pt idx="0">
                  <c:v>68297582</c:v>
                </c:pt>
                <c:pt idx="1">
                  <c:v>1685690</c:v>
                </c:pt>
                <c:pt idx="2">
                  <c:v>1592038</c:v>
                </c:pt>
                <c:pt idx="3">
                  <c:v>1269767</c:v>
                </c:pt>
                <c:pt idx="4">
                  <c:v>989359</c:v>
                </c:pt>
              </c:numCache>
            </c:numRef>
          </c:bubbleSize>
          <c:bubble3D val="0"/>
          <c:extLst>
            <c:ext xmlns:c15="http://schemas.microsoft.com/office/drawing/2012/chart" uri="{02D57815-91ED-43cb-92C2-25804820EDAC}">
              <c15:datalabelsRange>
                <c15:f>Sheet1!$E$2:$E$10</c15:f>
                <c15:dlblRangeCache>
                  <c:ptCount val="9"/>
                  <c:pt idx="0">
                    <c:v>Banana Boat</c:v>
                  </c:pt>
                  <c:pt idx="1">
                    <c:v>Isdin</c:v>
                  </c:pt>
                  <c:pt idx="2">
                    <c:v>La Roche-Posay</c:v>
                  </c:pt>
                  <c:pt idx="3">
                    <c:v>Eclipsol</c:v>
                  </c:pt>
                  <c:pt idx="4">
                    <c:v>Mustela</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8"/>
          <c:min val="19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BCD7846C-99FB-4DDD-9699-71489376E9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CA-4C16-90F6-A0D9A3D8DA8E}"/>
                </c:ext>
              </c:extLst>
            </c:dLbl>
            <c:dLbl>
              <c:idx val="2"/>
              <c:tx>
                <c:rich>
                  <a:bodyPr/>
                  <a:lstStyle/>
                  <a:p>
                    <a:fld id="{4AA1A9E7-1F95-4EF0-9A0B-947C2F955F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CA-4C16-90F6-A0D9A3D8DA8E}"/>
                </c:ext>
              </c:extLst>
            </c:dLbl>
            <c:dLbl>
              <c:idx val="3"/>
              <c:tx>
                <c:rich>
                  <a:bodyPr/>
                  <a:lstStyle/>
                  <a:p>
                    <a:fld id="{5906C5EA-F058-4237-AAE8-4E0C39D3BD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ABB00DDC-0AF0-42B9-AEB3-C714C95594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7FF7936A-264C-42FA-923B-B0C5FB8EEC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433EEF6B-0E67-4205-8E5F-5974BE9A96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7FC87997-43D9-46CB-A683-CA29E3F0F2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C8DB91C4-9A08-4146-8B48-EFD6F92E22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4.0581</c:v>
                </c:pt>
              </c:numCache>
            </c:numRef>
          </c:xVal>
          <c:yVal>
            <c:numRef>
              <c:f>Sheet1!$B$2:$B$2</c:f>
              <c:numCache>
                <c:formatCode>General</c:formatCode>
                <c:ptCount val="1"/>
                <c:pt idx="0">
                  <c:v>1</c:v>
                </c:pt>
              </c:numCache>
            </c:numRef>
          </c:yVal>
          <c:bubbleSize>
            <c:numRef>
              <c:f>Sheet1!$C$2:$C$2</c:f>
              <c:numCache>
                <c:formatCode>General</c:formatCode>
                <c:ptCount val="1"/>
                <c:pt idx="0">
                  <c:v>2997001</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5"/>
          <c:min val="16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D277422-244C-4B57-89C9-3C02D0127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E5A40A49-488E-40F3-85B7-61D0BF0EE1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2A5E4D3-863D-4CDD-A1B7-45908BEC7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9455383-77A0-48FA-A6F6-2D4459D4E3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2BE09F7-9F32-45E1-858F-DB700C1B08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CECE150-D252-414F-B69E-C42CA715C8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CE20D7B-CEF3-4EBA-A457-3E507BEE51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8CB0548-3C39-49E2-A72B-9B87EFDF23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8.50640000000001</c:v>
                </c:pt>
              </c:numCache>
            </c:numRef>
          </c:xVal>
          <c:yVal>
            <c:numRef>
              <c:f>Sheet1!$B$2:$B$2</c:f>
              <c:numCache>
                <c:formatCode>General</c:formatCode>
                <c:ptCount val="1"/>
                <c:pt idx="0">
                  <c:v>1</c:v>
                </c:pt>
              </c:numCache>
            </c:numRef>
          </c:yVal>
          <c:bubbleSize>
            <c:numRef>
              <c:f>Sheet1!$C$2:$C$2</c:f>
              <c:numCache>
                <c:formatCode>General</c:formatCode>
                <c:ptCount val="1"/>
                <c:pt idx="0">
                  <c:v>9805641</c:v>
                </c:pt>
              </c:numCache>
            </c:numRef>
          </c:bubbleSize>
          <c:bubble3D val="0"/>
          <c:extLst>
            <c:ext xmlns:c15="http://schemas.microsoft.com/office/drawing/2012/chart" uri="{02D57815-91ED-43cb-92C2-25804820EDAC}">
              <c15:datalabelsRange>
                <c15:f>Sheet1!$E$2:$E$10</c15:f>
                <c15:dlblRangeCache>
                  <c:ptCount val="9"/>
                  <c:pt idx="0">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0"/>
          <c:min val="16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9DE6881-B5AC-4CAE-A518-5E3B4CB2B7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9895CCF-5AFB-4258-A64A-D4CE5A7DF4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794B0B1-02A6-400C-B56D-7F91FFB4B0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A93844E-DE02-42D5-8A0C-049D78BFF5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15FBC2E-9421-46D9-82D0-201B7E9131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27FD775-307B-4AF5-9E17-19FDEE8D8F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C18D5C7-1828-4985-BBEE-12B51AE5AA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B3E938B-09A4-4E72-8943-CEA3663967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0.78219999999999</c:v>
                </c:pt>
                <c:pt idx="1">
                  <c:v>613.25300000000004</c:v>
                </c:pt>
                <c:pt idx="2">
                  <c:v>619.50990000000002</c:v>
                </c:pt>
                <c:pt idx="3">
                  <c:v>217.92179999999999</c:v>
                </c:pt>
                <c:pt idx="4">
                  <c:v>219.85040000000001</c:v>
                </c:pt>
                <c:pt idx="5">
                  <c:v>655.54369999999994</c:v>
                </c:pt>
                <c:pt idx="6">
                  <c:v>667.63379999999995</c:v>
                </c:pt>
                <c:pt idx="7">
                  <c:v>207.99539999999999</c:v>
                </c:pt>
              </c:numCache>
            </c:numRef>
          </c:xVal>
          <c:yVal>
            <c:numRef>
              <c:f>Sheet1!$B$2:$B$9</c:f>
              <c:numCache>
                <c:formatCode>General</c:formatCode>
                <c:ptCount val="8"/>
                <c:pt idx="0">
                  <c:v>0.72199999999999998</c:v>
                </c:pt>
                <c:pt idx="1">
                  <c:v>2.7679999999999998</c:v>
                </c:pt>
                <c:pt idx="2">
                  <c:v>4.3280000000000003</c:v>
                </c:pt>
                <c:pt idx="3">
                  <c:v>0.499</c:v>
                </c:pt>
                <c:pt idx="4">
                  <c:v>0.51400000000000001</c:v>
                </c:pt>
                <c:pt idx="5">
                  <c:v>3.7610000000000001</c:v>
                </c:pt>
                <c:pt idx="6">
                  <c:v>3.2250000000000001</c:v>
                </c:pt>
                <c:pt idx="7">
                  <c:v>1.611</c:v>
                </c:pt>
              </c:numCache>
            </c:numRef>
          </c:yVal>
          <c:bubbleSize>
            <c:numRef>
              <c:f>Sheet1!$C$2:$C$9</c:f>
              <c:numCache>
                <c:formatCode>General</c:formatCode>
                <c:ptCount val="8"/>
                <c:pt idx="0">
                  <c:v>778226782</c:v>
                </c:pt>
                <c:pt idx="1">
                  <c:v>629447145</c:v>
                </c:pt>
                <c:pt idx="2">
                  <c:v>364879575</c:v>
                </c:pt>
                <c:pt idx="3">
                  <c:v>349000701</c:v>
                </c:pt>
                <c:pt idx="4">
                  <c:v>303068598</c:v>
                </c:pt>
                <c:pt idx="5">
                  <c:v>263235523</c:v>
                </c:pt>
                <c:pt idx="6">
                  <c:v>228911615</c:v>
                </c:pt>
                <c:pt idx="7">
                  <c:v>13146973</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La Roche-Posay</c:v>
                  </c:pt>
                  <c:pt idx="3">
                    <c:v>Hawaiian Tropic</c:v>
                  </c:pt>
                  <c:pt idx="4">
                    <c:v>Banana Boat</c:v>
                  </c:pt>
                  <c:pt idx="5">
                    <c:v>Eucerin</c:v>
                  </c:pt>
                  <c:pt idx="6">
                    <c:v>Avene</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01"/>
          <c:min val="16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0136E58A-C2BD-4162-9B21-E179663E8B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42BDA9BD-9C0F-4B4C-94A9-8AADBAB10E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72578AF6-8B05-430F-AF3F-866D57D872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F122935D-9604-4B28-9540-2FD87712E3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7007300B-CAD5-4F14-9AE0-E160D230F5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7840DBFD-0164-4427-9721-9A2F571E9E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C8F458EC-8549-4C96-912D-C06C4ACC2F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AB4038F5-F2C7-4AD2-9F63-A65183E0A0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52.4862</c:v>
                </c:pt>
                <c:pt idx="1">
                  <c:v>360.08690000000001</c:v>
                </c:pt>
                <c:pt idx="2">
                  <c:v>657.53</c:v>
                </c:pt>
                <c:pt idx="3">
                  <c:v>321.74520000000001</c:v>
                </c:pt>
                <c:pt idx="4">
                  <c:v>539.44320000000005</c:v>
                </c:pt>
                <c:pt idx="5">
                  <c:v>408.41359999999997</c:v>
                </c:pt>
              </c:numCache>
            </c:numRef>
          </c:xVal>
          <c:yVal>
            <c:numRef>
              <c:f>Sheet1!$B$2:$B$7</c:f>
              <c:numCache>
                <c:formatCode>General</c:formatCode>
                <c:ptCount val="6"/>
                <c:pt idx="0">
                  <c:v>0.46800000000000003</c:v>
                </c:pt>
                <c:pt idx="1">
                  <c:v>1.6890000000000001</c:v>
                </c:pt>
                <c:pt idx="2">
                  <c:v>2.121</c:v>
                </c:pt>
                <c:pt idx="3">
                  <c:v>1.8420000000000001</c:v>
                </c:pt>
                <c:pt idx="4">
                  <c:v>2.2389999999999999</c:v>
                </c:pt>
                <c:pt idx="5">
                  <c:v>2.1920000000000002</c:v>
                </c:pt>
              </c:numCache>
            </c:numRef>
          </c:yVal>
          <c:bubbleSize>
            <c:numRef>
              <c:f>Sheet1!$C$2:$C$7</c:f>
              <c:numCache>
                <c:formatCode>General</c:formatCode>
                <c:ptCount val="6"/>
                <c:pt idx="0">
                  <c:v>3012160</c:v>
                </c:pt>
                <c:pt idx="1">
                  <c:v>2739181</c:v>
                </c:pt>
                <c:pt idx="2">
                  <c:v>2693243</c:v>
                </c:pt>
                <c:pt idx="3">
                  <c:v>1190779</c:v>
                </c:pt>
                <c:pt idx="4">
                  <c:v>284826</c:v>
                </c:pt>
                <c:pt idx="5">
                  <c:v>191546</c:v>
                </c:pt>
              </c:numCache>
            </c:numRef>
          </c:bubbleSize>
          <c:bubble3D val="0"/>
          <c:extLst>
            <c:ext xmlns:c15="http://schemas.microsoft.com/office/drawing/2012/chart" uri="{02D57815-91ED-43cb-92C2-25804820EDAC}">
              <c15:datalabelsRange>
                <c15:f>Sheet1!$E$2:$E$10</c15:f>
                <c15:dlblRangeCache>
                  <c:ptCount val="9"/>
                  <c:pt idx="0">
                    <c:v>Banana Boat</c:v>
                  </c:pt>
                  <c:pt idx="1">
                    <c:v>Australian Gold</c:v>
                  </c:pt>
                  <c:pt idx="2">
                    <c:v>Photoderm</c:v>
                  </c:pt>
                  <c:pt idx="3">
                    <c:v>Ocean Potion</c:v>
                  </c:pt>
                  <c:pt idx="4">
                    <c:v>La Roche-Posay</c:v>
                  </c:pt>
                  <c:pt idx="5">
                    <c:v>Mustela</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9"/>
          <c:min val="20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1CB0739D-2538-400C-9690-E62F85239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AD6E8803-C54C-4F68-983C-B5B8C03788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3EAA0DA4-A103-46DA-AFC5-7EB366483A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5017A1BF-24C9-4C15-BDD4-30A2572A05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D94E66DA-0BEF-4B98-8C43-3E591264C9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FC40539B-1E49-4E87-B0F2-BA368C0849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63AF98EF-1668-4760-9F48-EA1390D92F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1C099C88-F222-4BA3-AED7-7E192F2D9D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428.661</c:v>
                </c:pt>
                <c:pt idx="1">
                  <c:v>351.09890000000001</c:v>
                </c:pt>
              </c:numCache>
            </c:numRef>
          </c:xVal>
          <c:yVal>
            <c:numRef>
              <c:f>Sheet1!$B$2:$B$3</c:f>
              <c:numCache>
                <c:formatCode>General</c:formatCode>
                <c:ptCount val="2"/>
                <c:pt idx="0">
                  <c:v>2.2709999999999999</c:v>
                </c:pt>
                <c:pt idx="1">
                  <c:v>0.318</c:v>
                </c:pt>
              </c:numCache>
            </c:numRef>
          </c:yVal>
          <c:bubbleSize>
            <c:numRef>
              <c:f>Sheet1!$C$2:$C$3</c:f>
              <c:numCache>
                <c:formatCode>General</c:formatCode>
                <c:ptCount val="2"/>
                <c:pt idx="0">
                  <c:v>4708412</c:v>
                </c:pt>
                <c:pt idx="1">
                  <c:v>2155747</c:v>
                </c:pt>
              </c:numCache>
            </c:numRef>
          </c:bubbleSize>
          <c:bubble3D val="0"/>
          <c:extLst>
            <c:ext xmlns:c15="http://schemas.microsoft.com/office/drawing/2012/chart" uri="{02D57815-91ED-43cb-92C2-25804820EDAC}">
              <c15:datalabelsRange>
                <c15:f>Sheet1!$E$2:$E$10</c15:f>
                <c15:dlblRangeCache>
                  <c:ptCount val="9"/>
                  <c:pt idx="0">
                    <c:v>Isdin</c:v>
                  </c:pt>
                  <c:pt idx="1">
                    <c:v>Neutrogena</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14"/>
          <c:min val="28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A097262-3DE3-45AA-A5F8-BB40DDF026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E5BC7D1-00F7-4A2E-B2AF-1C6AF2C00B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6DD83C1-A78C-43E9-8763-670C767172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CC4955B-41E2-4BDB-B3A9-B06D2988D7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E50BC2B-5BA2-4081-8F64-0005F4A99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854F1F0-E397-4B27-99AE-68D1763F07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15E1DC6-9AA3-41DF-9046-7E6960843C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9ADDB41-0AA1-4834-89CA-2F4F4E7041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8.62180000000001</c:v>
                </c:pt>
                <c:pt idx="1">
                  <c:v>613.25300000000004</c:v>
                </c:pt>
                <c:pt idx="2">
                  <c:v>218.2782</c:v>
                </c:pt>
                <c:pt idx="3">
                  <c:v>581.07939999999996</c:v>
                </c:pt>
                <c:pt idx="4">
                  <c:v>212.268</c:v>
                </c:pt>
                <c:pt idx="5">
                  <c:v>649.51160000000004</c:v>
                </c:pt>
                <c:pt idx="6">
                  <c:v>668.8338</c:v>
                </c:pt>
                <c:pt idx="7">
                  <c:v>207.99539999999999</c:v>
                </c:pt>
              </c:numCache>
            </c:numRef>
          </c:xVal>
          <c:yVal>
            <c:numRef>
              <c:f>Sheet1!$B$2:$B$9</c:f>
              <c:numCache>
                <c:formatCode>General</c:formatCode>
                <c:ptCount val="8"/>
                <c:pt idx="0">
                  <c:v>0.73799999999999999</c:v>
                </c:pt>
                <c:pt idx="1">
                  <c:v>2.8860000000000001</c:v>
                </c:pt>
                <c:pt idx="2">
                  <c:v>0.504</c:v>
                </c:pt>
                <c:pt idx="3">
                  <c:v>4.532</c:v>
                </c:pt>
                <c:pt idx="4">
                  <c:v>0.49199999999999999</c:v>
                </c:pt>
                <c:pt idx="5">
                  <c:v>3.8679999999999999</c:v>
                </c:pt>
                <c:pt idx="6">
                  <c:v>3.4849999999999999</c:v>
                </c:pt>
                <c:pt idx="7">
                  <c:v>1.68</c:v>
                </c:pt>
              </c:numCache>
            </c:numRef>
          </c:yVal>
          <c:bubbleSize>
            <c:numRef>
              <c:f>Sheet1!$C$2:$C$9</c:f>
              <c:numCache>
                <c:formatCode>General</c:formatCode>
                <c:ptCount val="8"/>
                <c:pt idx="0">
                  <c:v>793024766</c:v>
                </c:pt>
                <c:pt idx="1">
                  <c:v>629447145</c:v>
                </c:pt>
                <c:pt idx="2">
                  <c:v>386902988</c:v>
                </c:pt>
                <c:pt idx="3">
                  <c:v>385073783</c:v>
                </c:pt>
                <c:pt idx="4">
                  <c:v>329391699</c:v>
                </c:pt>
                <c:pt idx="5">
                  <c:v>268650336</c:v>
                </c:pt>
                <c:pt idx="6">
                  <c:v>254179570</c:v>
                </c:pt>
                <c:pt idx="7">
                  <c:v>13146973</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Hawaiian Tropic</c:v>
                  </c:pt>
                  <c:pt idx="3">
                    <c:v>La Roche-Posay</c:v>
                  </c:pt>
                  <c:pt idx="4">
                    <c:v>Banana Boat</c:v>
                  </c:pt>
                  <c:pt idx="5">
                    <c:v>Eucerin</c:v>
                  </c:pt>
                  <c:pt idx="6">
                    <c:v>Avene</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03"/>
          <c:min val="16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EBCCB16-8C15-4DE4-8BE3-E5CA049D45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385A01F-7062-4B88-9099-EFCEEF90E6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A28ED4D-166F-462C-A63F-8261CB8660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8537F76-9C7F-490B-8005-F1E14A1094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E3534B-185E-45ED-8B99-631E12C240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3D26CBA-CFD5-45E6-B1E9-78C1FEF521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3A3C626-2B83-44B7-93F7-4CAC6BFA5D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C95F79D-5A1E-4507-8DDB-3DC7A117A7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0.75120000000001</c:v>
                </c:pt>
                <c:pt idx="1">
                  <c:v>612.90509999999995</c:v>
                </c:pt>
                <c:pt idx="2">
                  <c:v>219.54179999999999</c:v>
                </c:pt>
                <c:pt idx="3">
                  <c:v>589.39139999999998</c:v>
                </c:pt>
                <c:pt idx="4">
                  <c:v>212.96</c:v>
                </c:pt>
                <c:pt idx="5">
                  <c:v>659.04079999999999</c:v>
                </c:pt>
                <c:pt idx="6">
                  <c:v>682.5127</c:v>
                </c:pt>
                <c:pt idx="7">
                  <c:v>208.48599999999999</c:v>
                </c:pt>
              </c:numCache>
            </c:numRef>
          </c:xVal>
          <c:yVal>
            <c:numRef>
              <c:f>Sheet1!$B$2:$B$9</c:f>
              <c:numCache>
                <c:formatCode>General</c:formatCode>
                <c:ptCount val="8"/>
                <c:pt idx="0">
                  <c:v>0.73099999999999998</c:v>
                </c:pt>
                <c:pt idx="1">
                  <c:v>2.7789999999999999</c:v>
                </c:pt>
                <c:pt idx="2">
                  <c:v>0.501</c:v>
                </c:pt>
                <c:pt idx="3">
                  <c:v>4.625</c:v>
                </c:pt>
                <c:pt idx="4">
                  <c:v>0.48899999999999999</c:v>
                </c:pt>
                <c:pt idx="5">
                  <c:v>3.8980000000000001</c:v>
                </c:pt>
                <c:pt idx="6">
                  <c:v>3.4430000000000001</c:v>
                </c:pt>
                <c:pt idx="7">
                  <c:v>1.7370000000000001</c:v>
                </c:pt>
              </c:numCache>
            </c:numRef>
          </c:yVal>
          <c:bubbleSize>
            <c:numRef>
              <c:f>Sheet1!$C$2:$C$9</c:f>
              <c:numCache>
                <c:formatCode>General</c:formatCode>
                <c:ptCount val="8"/>
                <c:pt idx="0">
                  <c:v>726313442</c:v>
                </c:pt>
                <c:pt idx="1">
                  <c:v>560154823</c:v>
                </c:pt>
                <c:pt idx="2">
                  <c:v>374545370</c:v>
                </c:pt>
                <c:pt idx="3">
                  <c:v>354099274</c:v>
                </c:pt>
                <c:pt idx="4">
                  <c:v>315308437</c:v>
                </c:pt>
                <c:pt idx="5">
                  <c:v>246274334</c:v>
                </c:pt>
                <c:pt idx="6">
                  <c:v>224564421</c:v>
                </c:pt>
                <c:pt idx="7">
                  <c:v>12989092</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Hawaiian Tropic</c:v>
                  </c:pt>
                  <c:pt idx="3">
                    <c:v>La Roche-Posay</c:v>
                  </c:pt>
                  <c:pt idx="4">
                    <c:v>Banana Boat</c:v>
                  </c:pt>
                  <c:pt idx="5">
                    <c:v>Eucerin</c:v>
                  </c:pt>
                  <c:pt idx="6">
                    <c:v>Avene</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9"/>
          <c:min val="16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1839179-9B55-42EE-8E63-D64E20CA96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01E89D0-5715-4D99-970D-ABE93154E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8E7DE96-20B5-439B-875A-03DCE59383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9A6080C-A57A-4448-B525-D4E466E3CE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1FF6F5A-1763-4424-A895-F1BADF020C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941E3B0-4619-44DB-8D03-F96CF7901C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6CD80A6-AF9B-436E-8535-686725C440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7E94441-4130-44A2-A7BB-5103D86DB6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21.58029999999997</c:v>
                </c:pt>
                <c:pt idx="1">
                  <c:v>605.30100000000004</c:v>
                </c:pt>
                <c:pt idx="2">
                  <c:v>681.07219999999995</c:v>
                </c:pt>
                <c:pt idx="3">
                  <c:v>711.79589999999996</c:v>
                </c:pt>
                <c:pt idx="4">
                  <c:v>284.08139999999997</c:v>
                </c:pt>
                <c:pt idx="5">
                  <c:v>251.63939999999999</c:v>
                </c:pt>
                <c:pt idx="6">
                  <c:v>194.42529999999999</c:v>
                </c:pt>
                <c:pt idx="7">
                  <c:v>282.38249999999999</c:v>
                </c:pt>
              </c:numCache>
            </c:numRef>
          </c:xVal>
          <c:yVal>
            <c:numRef>
              <c:f>Sheet1!$B$2:$B$9</c:f>
              <c:numCache>
                <c:formatCode>General</c:formatCode>
                <c:ptCount val="8"/>
                <c:pt idx="0">
                  <c:v>1.6619999999999999</c:v>
                </c:pt>
                <c:pt idx="1">
                  <c:v>2.8319999999999999</c:v>
                </c:pt>
                <c:pt idx="2">
                  <c:v>2.4380000000000002</c:v>
                </c:pt>
                <c:pt idx="3">
                  <c:v>2.125</c:v>
                </c:pt>
                <c:pt idx="4">
                  <c:v>0.52900000000000003</c:v>
                </c:pt>
                <c:pt idx="5">
                  <c:v>0.31</c:v>
                </c:pt>
                <c:pt idx="6">
                  <c:v>0.30099999999999999</c:v>
                </c:pt>
                <c:pt idx="7">
                  <c:v>2.8719999999999999</c:v>
                </c:pt>
              </c:numCache>
            </c:numRef>
          </c:yVal>
          <c:bubbleSize>
            <c:numRef>
              <c:f>Sheet1!$C$2:$C$9</c:f>
              <c:numCache>
                <c:formatCode>General</c:formatCode>
                <c:ptCount val="8"/>
                <c:pt idx="0">
                  <c:v>452020654</c:v>
                </c:pt>
                <c:pt idx="1">
                  <c:v>303187392</c:v>
                </c:pt>
                <c:pt idx="2">
                  <c:v>204970054</c:v>
                </c:pt>
                <c:pt idx="3">
                  <c:v>196500511</c:v>
                </c:pt>
                <c:pt idx="4">
                  <c:v>188092032</c:v>
                </c:pt>
                <c:pt idx="5">
                  <c:v>104768549</c:v>
                </c:pt>
                <c:pt idx="6">
                  <c:v>99479662</c:v>
                </c:pt>
                <c:pt idx="7">
                  <c:v>530032</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Eucerin</c:v>
                  </c:pt>
                  <c:pt idx="3">
                    <c:v>Avene</c:v>
                  </c:pt>
                  <c:pt idx="4">
                    <c:v>Nivea</c:v>
                  </c:pt>
                  <c:pt idx="5">
                    <c:v>Hawaiian Tropic</c:v>
                  </c:pt>
                  <c:pt idx="6">
                    <c:v>Banana Boat</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4"/>
          <c:min val="15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21F3949-6BFF-44CB-AB86-36C02A8BBF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029B54C-7449-4852-ABAD-CB22C40BE9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09779D0-EF07-432A-A173-16D50DA107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D67263A-7E5C-48B0-8DCB-3D6002A25C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10C4A0D-66A0-4A17-94C8-AAF4810388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4397F5B-F343-491D-B8EF-CD06094C95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0B40270-F201-4487-B6E2-A44603ADA4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1664EF6-3C57-4D41-B13C-07DD51D852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6.23769999999999</c:v>
                </c:pt>
                <c:pt idx="1">
                  <c:v>451.89089999999999</c:v>
                </c:pt>
                <c:pt idx="2">
                  <c:v>209.54249999999999</c:v>
                </c:pt>
                <c:pt idx="3">
                  <c:v>158.24529999999999</c:v>
                </c:pt>
                <c:pt idx="4">
                  <c:v>80.124899999999997</c:v>
                </c:pt>
                <c:pt idx="5">
                  <c:v>96.877300000000005</c:v>
                </c:pt>
                <c:pt idx="6">
                  <c:v>291.05380000000002</c:v>
                </c:pt>
                <c:pt idx="7">
                  <c:v>205.88</c:v>
                </c:pt>
              </c:numCache>
            </c:numRef>
          </c:xVal>
          <c:yVal>
            <c:numRef>
              <c:f>Sheet1!$B$2:$B$9</c:f>
              <c:numCache>
                <c:formatCode>General</c:formatCode>
                <c:ptCount val="8"/>
                <c:pt idx="0">
                  <c:v>1.33</c:v>
                </c:pt>
                <c:pt idx="1">
                  <c:v>3.661</c:v>
                </c:pt>
                <c:pt idx="2">
                  <c:v>0.90200000000000002</c:v>
                </c:pt>
                <c:pt idx="3">
                  <c:v>0.66800000000000004</c:v>
                </c:pt>
                <c:pt idx="4">
                  <c:v>0.49399999999999999</c:v>
                </c:pt>
                <c:pt idx="5">
                  <c:v>0.61699999999999999</c:v>
                </c:pt>
                <c:pt idx="6">
                  <c:v>1.7809999999999999</c:v>
                </c:pt>
                <c:pt idx="7">
                  <c:v>1.3120000000000001</c:v>
                </c:pt>
              </c:numCache>
            </c:numRef>
          </c:yVal>
          <c:bubbleSize>
            <c:numRef>
              <c:f>Sheet1!$C$2:$C$9</c:f>
              <c:numCache>
                <c:formatCode>General</c:formatCode>
                <c:ptCount val="8"/>
                <c:pt idx="0">
                  <c:v>8697512</c:v>
                </c:pt>
                <c:pt idx="1">
                  <c:v>2920119</c:v>
                </c:pt>
                <c:pt idx="2">
                  <c:v>2109674</c:v>
                </c:pt>
                <c:pt idx="3">
                  <c:v>1330843</c:v>
                </c:pt>
                <c:pt idx="4">
                  <c:v>1209966</c:v>
                </c:pt>
                <c:pt idx="5">
                  <c:v>1076307</c:v>
                </c:pt>
                <c:pt idx="6">
                  <c:v>400490</c:v>
                </c:pt>
                <c:pt idx="7">
                  <c:v>5147</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Banana Boat</c:v>
                  </c:pt>
                  <c:pt idx="3">
                    <c:v>Hawaiian Tropic</c:v>
                  </c:pt>
                  <c:pt idx="4">
                    <c:v>Caribbean Beach</c:v>
                  </c:pt>
                  <c:pt idx="5">
                    <c:v>Nuvel</c:v>
                  </c:pt>
                  <c:pt idx="6">
                    <c:v>Eclipsol</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2"/>
          <c:min val="6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A2E1103-DE9E-4B70-8F2A-BF5142F174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BF90CAC-6704-440F-8C0E-5A2BD50A7F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9078921-3776-4D52-AF52-A9A3F101C0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FBF5E6B-0417-4DDE-B4C1-4D19A29D70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F772877-0032-40BC-876E-ED42055EFD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816581A-1AAB-4821-90F7-DA8D8FDA52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25E6EF6-278F-4A0F-977A-CC760760E0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55E2B5B-7684-4B72-BD82-29847D282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13380000000001</c:v>
                </c:pt>
                <c:pt idx="1">
                  <c:v>209.15610000000001</c:v>
                </c:pt>
                <c:pt idx="2">
                  <c:v>222.7422</c:v>
                </c:pt>
                <c:pt idx="3">
                  <c:v>577.1653</c:v>
                </c:pt>
                <c:pt idx="4">
                  <c:v>289.72449999999998</c:v>
                </c:pt>
                <c:pt idx="5">
                  <c:v>84.481200000000001</c:v>
                </c:pt>
                <c:pt idx="6">
                  <c:v>506.83350000000002</c:v>
                </c:pt>
                <c:pt idx="7">
                  <c:v>206.30250000000001</c:v>
                </c:pt>
              </c:numCache>
            </c:numRef>
          </c:xVal>
          <c:yVal>
            <c:numRef>
              <c:f>Sheet1!$B$2:$B$9</c:f>
              <c:numCache>
                <c:formatCode>General</c:formatCode>
                <c:ptCount val="8"/>
                <c:pt idx="0">
                  <c:v>1.038</c:v>
                </c:pt>
                <c:pt idx="1">
                  <c:v>0.746</c:v>
                </c:pt>
                <c:pt idx="2">
                  <c:v>0.72599999999999998</c:v>
                </c:pt>
                <c:pt idx="3">
                  <c:v>4.18</c:v>
                </c:pt>
                <c:pt idx="4">
                  <c:v>2.0569999999999999</c:v>
                </c:pt>
                <c:pt idx="5">
                  <c:v>0.41599999999999998</c:v>
                </c:pt>
                <c:pt idx="6">
                  <c:v>6.3529999999999998</c:v>
                </c:pt>
                <c:pt idx="7">
                  <c:v>2.5569999999999999</c:v>
                </c:pt>
              </c:numCache>
            </c:numRef>
          </c:yVal>
          <c:bubbleSize>
            <c:numRef>
              <c:f>Sheet1!$C$2:$C$9</c:f>
              <c:numCache>
                <c:formatCode>General</c:formatCode>
                <c:ptCount val="8"/>
                <c:pt idx="0">
                  <c:v>536202668</c:v>
                </c:pt>
                <c:pt idx="1">
                  <c:v>269083052</c:v>
                </c:pt>
                <c:pt idx="2">
                  <c:v>215531333</c:v>
                </c:pt>
                <c:pt idx="3">
                  <c:v>108131910</c:v>
                </c:pt>
                <c:pt idx="4">
                  <c:v>102115148</c:v>
                </c:pt>
                <c:pt idx="5">
                  <c:v>62392994</c:v>
                </c:pt>
                <c:pt idx="6">
                  <c:v>50910918</c:v>
                </c:pt>
                <c:pt idx="7">
                  <c:v>12459021</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La Roche-Posay</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
          <c:min val="6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5531948-BA38-4D8C-95DF-F1FCEDE33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5898F31-EFDE-4CC3-BED7-1F5B31251C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B59DEBA-3556-4BDE-B618-E32525F5C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286EA64-E0F8-4E69-870E-DA1D571C05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7C5F85B-9191-4A32-A881-49A456B882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C601305-972C-48C2-920E-42C394CBBF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EDE928A-EDCF-43EE-AB76-257AC0EF2B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C8E2CF2-5C95-4B15-8C53-25D141F6EB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0.78219999999999</c:v>
                </c:pt>
                <c:pt idx="1">
                  <c:v>613.25300000000004</c:v>
                </c:pt>
                <c:pt idx="2">
                  <c:v>619.50990000000002</c:v>
                </c:pt>
                <c:pt idx="3">
                  <c:v>217.92179999999999</c:v>
                </c:pt>
                <c:pt idx="4">
                  <c:v>219.85040000000001</c:v>
                </c:pt>
                <c:pt idx="5">
                  <c:v>655.54369999999994</c:v>
                </c:pt>
                <c:pt idx="6">
                  <c:v>667.63379999999995</c:v>
                </c:pt>
                <c:pt idx="7">
                  <c:v>207.99539999999999</c:v>
                </c:pt>
              </c:numCache>
            </c:numRef>
          </c:xVal>
          <c:yVal>
            <c:numRef>
              <c:f>Sheet1!$B$2:$B$9</c:f>
              <c:numCache>
                <c:formatCode>General</c:formatCode>
                <c:ptCount val="8"/>
                <c:pt idx="0">
                  <c:v>0.72199999999999998</c:v>
                </c:pt>
                <c:pt idx="1">
                  <c:v>2.7679999999999998</c:v>
                </c:pt>
                <c:pt idx="2">
                  <c:v>4.3280000000000003</c:v>
                </c:pt>
                <c:pt idx="3">
                  <c:v>0.499</c:v>
                </c:pt>
                <c:pt idx="4">
                  <c:v>0.51400000000000001</c:v>
                </c:pt>
                <c:pt idx="5">
                  <c:v>3.7610000000000001</c:v>
                </c:pt>
                <c:pt idx="6">
                  <c:v>3.2250000000000001</c:v>
                </c:pt>
                <c:pt idx="7">
                  <c:v>1.611</c:v>
                </c:pt>
              </c:numCache>
            </c:numRef>
          </c:yVal>
          <c:bubbleSize>
            <c:numRef>
              <c:f>Sheet1!$C$2:$C$9</c:f>
              <c:numCache>
                <c:formatCode>General</c:formatCode>
                <c:ptCount val="8"/>
                <c:pt idx="0">
                  <c:v>778226782</c:v>
                </c:pt>
                <c:pt idx="1">
                  <c:v>629447145</c:v>
                </c:pt>
                <c:pt idx="2">
                  <c:v>364879575</c:v>
                </c:pt>
                <c:pt idx="3">
                  <c:v>349000701</c:v>
                </c:pt>
                <c:pt idx="4">
                  <c:v>303068598</c:v>
                </c:pt>
                <c:pt idx="5">
                  <c:v>263235523</c:v>
                </c:pt>
                <c:pt idx="6">
                  <c:v>228911615</c:v>
                </c:pt>
                <c:pt idx="7">
                  <c:v>13146973</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La Roche-Posay</c:v>
                  </c:pt>
                  <c:pt idx="3">
                    <c:v>Hawaiian Tropic</c:v>
                  </c:pt>
                  <c:pt idx="4">
                    <c:v>Banana Boat</c:v>
                  </c:pt>
                  <c:pt idx="5">
                    <c:v>Eucerin</c:v>
                  </c:pt>
                  <c:pt idx="6">
                    <c:v>Avene</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01"/>
          <c:min val="16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4BC95D4-6B4B-40B6-96CB-E66E5A3AB5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1E1BFF3-C397-48E5-8A17-121C3D6FD5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0FF5AF7-582C-41D4-8FC3-801C97AE3E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1AF670B-CB64-4832-8B39-3ED70C2DF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2491B14-24BA-44DA-9892-798D9C3625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C113426-35DB-4BE4-A180-FFEDAD492A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CA88B4B-CBAF-446B-979F-8EC6EB6F3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0A89F1A-12D9-4DDF-9D55-E16F12FE98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2.66800000000001</c:v>
                </c:pt>
                <c:pt idx="1">
                  <c:v>612.90509999999995</c:v>
                </c:pt>
                <c:pt idx="2">
                  <c:v>219.12639999999999</c:v>
                </c:pt>
                <c:pt idx="3">
                  <c:v>629.18399999999997</c:v>
                </c:pt>
                <c:pt idx="4">
                  <c:v>220.91210000000001</c:v>
                </c:pt>
                <c:pt idx="5">
                  <c:v>665.37490000000003</c:v>
                </c:pt>
                <c:pt idx="6">
                  <c:v>679.58199999999999</c:v>
                </c:pt>
                <c:pt idx="7">
                  <c:v>208.48599999999999</c:v>
                </c:pt>
              </c:numCache>
            </c:numRef>
          </c:xVal>
          <c:yVal>
            <c:numRef>
              <c:f>Sheet1!$B$2:$B$9</c:f>
              <c:numCache>
                <c:formatCode>General</c:formatCode>
                <c:ptCount val="8"/>
                <c:pt idx="0">
                  <c:v>0.71299999999999997</c:v>
                </c:pt>
                <c:pt idx="1">
                  <c:v>2.6619999999999999</c:v>
                </c:pt>
                <c:pt idx="2">
                  <c:v>0.495</c:v>
                </c:pt>
                <c:pt idx="3">
                  <c:v>4.38</c:v>
                </c:pt>
                <c:pt idx="4">
                  <c:v>0.51200000000000001</c:v>
                </c:pt>
                <c:pt idx="5">
                  <c:v>3.778</c:v>
                </c:pt>
                <c:pt idx="6">
                  <c:v>3.1309999999999998</c:v>
                </c:pt>
                <c:pt idx="7">
                  <c:v>1.6639999999999999</c:v>
                </c:pt>
              </c:numCache>
            </c:numRef>
          </c:yVal>
          <c:bubbleSize>
            <c:numRef>
              <c:f>Sheet1!$C$2:$C$9</c:f>
              <c:numCache>
                <c:formatCode>General</c:formatCode>
                <c:ptCount val="8"/>
                <c:pt idx="0">
                  <c:v>712991219</c:v>
                </c:pt>
                <c:pt idx="1">
                  <c:v>560154823</c:v>
                </c:pt>
                <c:pt idx="2">
                  <c:v>338199514</c:v>
                </c:pt>
                <c:pt idx="3">
                  <c:v>334290507</c:v>
                </c:pt>
                <c:pt idx="4">
                  <c:v>289054849</c:v>
                </c:pt>
                <c:pt idx="5">
                  <c:v>240875045</c:v>
                </c:pt>
                <c:pt idx="6">
                  <c:v>199973121</c:v>
                </c:pt>
                <c:pt idx="7">
                  <c:v>12989092</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Hawaiian Tropic</c:v>
                  </c:pt>
                  <c:pt idx="3">
                    <c:v>La Roche-Posay</c:v>
                  </c:pt>
                  <c:pt idx="4">
                    <c:v>Banana Boat</c:v>
                  </c:pt>
                  <c:pt idx="5">
                    <c:v>Eucerin</c:v>
                  </c:pt>
                  <c:pt idx="6">
                    <c:v>Avene</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5"/>
          <c:min val="16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E7730EE-930D-48B8-A6C5-D8628AAA96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5AFE144-7158-425E-BF74-4D032BCE98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CCBE0DB-A1A3-4C7C-95C8-AD2A370A59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7377CA5-2E1D-4EA1-BC39-F0C3434C4D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EDE8F98-E232-42BE-B154-BBAACC613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6E2D51A-8FCE-4822-BE85-50F0A37A20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43C3425-3213-4EA8-A79A-2D95811133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967F77D-092E-4870-965B-532B46AC6A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21.58029999999997</c:v>
                </c:pt>
                <c:pt idx="1">
                  <c:v>640.02089999999998</c:v>
                </c:pt>
                <c:pt idx="2">
                  <c:v>685.56870000000004</c:v>
                </c:pt>
                <c:pt idx="3">
                  <c:v>284.22660000000002</c:v>
                </c:pt>
                <c:pt idx="4">
                  <c:v>702.84829999999999</c:v>
                </c:pt>
                <c:pt idx="5">
                  <c:v>251.89150000000001</c:v>
                </c:pt>
                <c:pt idx="6">
                  <c:v>204.7139</c:v>
                </c:pt>
                <c:pt idx="7">
                  <c:v>282.38249999999999</c:v>
                </c:pt>
              </c:numCache>
            </c:numRef>
          </c:xVal>
          <c:yVal>
            <c:numRef>
              <c:f>Sheet1!$B$2:$B$9</c:f>
              <c:numCache>
                <c:formatCode>General</c:formatCode>
                <c:ptCount val="8"/>
                <c:pt idx="0">
                  <c:v>1.554</c:v>
                </c:pt>
                <c:pt idx="1">
                  <c:v>2.609</c:v>
                </c:pt>
                <c:pt idx="2">
                  <c:v>2.2949999999999999</c:v>
                </c:pt>
                <c:pt idx="3">
                  <c:v>0.496</c:v>
                </c:pt>
                <c:pt idx="4">
                  <c:v>1.877</c:v>
                </c:pt>
                <c:pt idx="5">
                  <c:v>0.29899999999999999</c:v>
                </c:pt>
                <c:pt idx="6">
                  <c:v>0.33400000000000002</c:v>
                </c:pt>
                <c:pt idx="7">
                  <c:v>2.6850000000000001</c:v>
                </c:pt>
              </c:numCache>
            </c:numRef>
          </c:yVal>
          <c:bubbleSize>
            <c:numRef>
              <c:f>Sheet1!$C$2:$C$9</c:f>
              <c:numCache>
                <c:formatCode>General</c:formatCode>
                <c:ptCount val="8"/>
                <c:pt idx="0">
                  <c:v>452020654</c:v>
                </c:pt>
                <c:pt idx="1">
                  <c:v>289763721</c:v>
                </c:pt>
                <c:pt idx="2">
                  <c:v>201647013</c:v>
                </c:pt>
                <c:pt idx="3">
                  <c:v>187539514</c:v>
                </c:pt>
                <c:pt idx="4">
                  <c:v>176210394</c:v>
                </c:pt>
                <c:pt idx="5">
                  <c:v>91049215</c:v>
                </c:pt>
                <c:pt idx="6">
                  <c:v>83479659</c:v>
                </c:pt>
                <c:pt idx="7">
                  <c:v>530032</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Eucerin</c:v>
                  </c:pt>
                  <c:pt idx="3">
                    <c:v>Nivea</c:v>
                  </c:pt>
                  <c:pt idx="4">
                    <c:v>Avene</c:v>
                  </c:pt>
                  <c:pt idx="5">
                    <c:v>Hawaiian Tropic</c:v>
                  </c:pt>
                  <c:pt idx="6">
                    <c:v>Banana Boat</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3"/>
          <c:min val="16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72C8D49-37B3-4556-A39F-FFA267ABB2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A6F06AB-BADB-47C1-856A-8ED80EBB25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34FD95-489A-4E4E-8A4B-F21046E8E6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1823C30-8DF8-4E0C-A296-2E7C4996A0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58B659F-771E-4F4D-9B49-56ECD2F2A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7AB7DB0-A1C2-4ABA-8A27-FC9C65FB98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9939234-5A73-47E5-A14C-51F83FF8AD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48C6A65-4EEB-4730-82A9-5DA888C67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2.66800000000001</c:v>
                </c:pt>
                <c:pt idx="1">
                  <c:v>612.90509999999995</c:v>
                </c:pt>
                <c:pt idx="2">
                  <c:v>219.12639999999999</c:v>
                </c:pt>
                <c:pt idx="3">
                  <c:v>629.18399999999997</c:v>
                </c:pt>
                <c:pt idx="4">
                  <c:v>220.91210000000001</c:v>
                </c:pt>
                <c:pt idx="5">
                  <c:v>665.37490000000003</c:v>
                </c:pt>
                <c:pt idx="6">
                  <c:v>679.58199999999999</c:v>
                </c:pt>
                <c:pt idx="7">
                  <c:v>208.48599999999999</c:v>
                </c:pt>
              </c:numCache>
            </c:numRef>
          </c:xVal>
          <c:yVal>
            <c:numRef>
              <c:f>Sheet1!$B$2:$B$9</c:f>
              <c:numCache>
                <c:formatCode>General</c:formatCode>
                <c:ptCount val="8"/>
                <c:pt idx="0">
                  <c:v>0.71299999999999997</c:v>
                </c:pt>
                <c:pt idx="1">
                  <c:v>2.6619999999999999</c:v>
                </c:pt>
                <c:pt idx="2">
                  <c:v>0.495</c:v>
                </c:pt>
                <c:pt idx="3">
                  <c:v>4.38</c:v>
                </c:pt>
                <c:pt idx="4">
                  <c:v>0.51200000000000001</c:v>
                </c:pt>
                <c:pt idx="5">
                  <c:v>3.778</c:v>
                </c:pt>
                <c:pt idx="6">
                  <c:v>3.1309999999999998</c:v>
                </c:pt>
                <c:pt idx="7">
                  <c:v>1.6639999999999999</c:v>
                </c:pt>
              </c:numCache>
            </c:numRef>
          </c:yVal>
          <c:bubbleSize>
            <c:numRef>
              <c:f>Sheet1!$C$2:$C$9</c:f>
              <c:numCache>
                <c:formatCode>General</c:formatCode>
                <c:ptCount val="8"/>
                <c:pt idx="0">
                  <c:v>712991219</c:v>
                </c:pt>
                <c:pt idx="1">
                  <c:v>560154823</c:v>
                </c:pt>
                <c:pt idx="2">
                  <c:v>338199514</c:v>
                </c:pt>
                <c:pt idx="3">
                  <c:v>334290507</c:v>
                </c:pt>
                <c:pt idx="4">
                  <c:v>289054849</c:v>
                </c:pt>
                <c:pt idx="5">
                  <c:v>240875045</c:v>
                </c:pt>
                <c:pt idx="6">
                  <c:v>199973121</c:v>
                </c:pt>
                <c:pt idx="7">
                  <c:v>12989092</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Hawaiian Tropic</c:v>
                  </c:pt>
                  <c:pt idx="3">
                    <c:v>La Roche-Posay</c:v>
                  </c:pt>
                  <c:pt idx="4">
                    <c:v>Banana Boat</c:v>
                  </c:pt>
                  <c:pt idx="5">
                    <c:v>Eucerin</c:v>
                  </c:pt>
                  <c:pt idx="6">
                    <c:v>Avene</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5"/>
          <c:min val="16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3F93D51-CEA4-400D-962B-3850B2852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0774B15-1BA4-4C17-93FB-6589D483CE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1D190F8-D7DF-4C40-9FE3-FD528680B6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3976D44-01BB-4B15-B0DE-7FE16E402B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5F7F44E-B83D-4E8A-8E4D-8F82011420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1528069-3FB6-4AF5-B20E-BA5B05529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64A34C4-9A9E-4102-9A1F-E30DF50468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6DFB8D2-A8B2-4D1C-8535-CC8D252745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6.6892</c:v>
                </c:pt>
                <c:pt idx="1">
                  <c:v>451.89089999999999</c:v>
                </c:pt>
                <c:pt idx="2">
                  <c:v>209.54249999999999</c:v>
                </c:pt>
                <c:pt idx="3">
                  <c:v>80.124899999999997</c:v>
                </c:pt>
                <c:pt idx="4">
                  <c:v>96.877300000000005</c:v>
                </c:pt>
                <c:pt idx="5">
                  <c:v>173.3228</c:v>
                </c:pt>
                <c:pt idx="6">
                  <c:v>291.05380000000002</c:v>
                </c:pt>
                <c:pt idx="7">
                  <c:v>205.88</c:v>
                </c:pt>
              </c:numCache>
            </c:numRef>
          </c:xVal>
          <c:yVal>
            <c:numRef>
              <c:f>Sheet1!$B$2:$B$9</c:f>
              <c:numCache>
                <c:formatCode>General</c:formatCode>
                <c:ptCount val="8"/>
                <c:pt idx="0">
                  <c:v>1.3069999999999999</c:v>
                </c:pt>
                <c:pt idx="1">
                  <c:v>3.5779999999999998</c:v>
                </c:pt>
                <c:pt idx="2">
                  <c:v>0.88200000000000001</c:v>
                </c:pt>
                <c:pt idx="3">
                  <c:v>0.48299999999999998</c:v>
                </c:pt>
                <c:pt idx="4">
                  <c:v>0.60299999999999998</c:v>
                </c:pt>
                <c:pt idx="5">
                  <c:v>0.80300000000000005</c:v>
                </c:pt>
                <c:pt idx="6">
                  <c:v>1.7410000000000001</c:v>
                </c:pt>
                <c:pt idx="7">
                  <c:v>1.2829999999999999</c:v>
                </c:pt>
              </c:numCache>
            </c:numRef>
          </c:yVal>
          <c:bubbleSize>
            <c:numRef>
              <c:f>Sheet1!$C$2:$C$9</c:f>
              <c:numCache>
                <c:formatCode>General</c:formatCode>
                <c:ptCount val="8"/>
                <c:pt idx="0">
                  <c:v>8663450</c:v>
                </c:pt>
                <c:pt idx="1">
                  <c:v>2920119</c:v>
                </c:pt>
                <c:pt idx="2">
                  <c:v>2109674</c:v>
                </c:pt>
                <c:pt idx="3">
                  <c:v>1209966</c:v>
                </c:pt>
                <c:pt idx="4">
                  <c:v>1076307</c:v>
                </c:pt>
                <c:pt idx="5">
                  <c:v>983087</c:v>
                </c:pt>
                <c:pt idx="6">
                  <c:v>400490</c:v>
                </c:pt>
                <c:pt idx="7">
                  <c:v>5147</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Banana Boat</c:v>
                  </c:pt>
                  <c:pt idx="3">
                    <c:v>Caribbean Beach</c:v>
                  </c:pt>
                  <c:pt idx="4">
                    <c:v>Nuvel</c:v>
                  </c:pt>
                  <c:pt idx="5">
                    <c:v>Hawaiian Tropic</c:v>
                  </c:pt>
                  <c:pt idx="6">
                    <c:v>Eclipsol</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2"/>
          <c:min val="6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78E7E5D-18DB-40E9-8CDC-9F1AEFE6CF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57ED7FA-7FE6-4AC7-9449-5DD6DA10F7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B148587-B094-4F1B-A009-449D52CA93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B0736AB-73F8-4192-9EB2-EED20BDD85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00ACCC7-4DFC-43EE-983A-BE8AF11CCC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F1959F0-BDED-4E21-B2F0-C981DF1E2B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B45C60C-2655-4861-8002-74583B53AB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D9A15AE-1611-44E1-B780-CC897A9375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3.31460000000001</c:v>
                </c:pt>
                <c:pt idx="1">
                  <c:v>209.0821</c:v>
                </c:pt>
                <c:pt idx="2">
                  <c:v>228.26419999999999</c:v>
                </c:pt>
                <c:pt idx="3">
                  <c:v>577.1653</c:v>
                </c:pt>
                <c:pt idx="4">
                  <c:v>291.35789999999997</c:v>
                </c:pt>
                <c:pt idx="5">
                  <c:v>84.787800000000004</c:v>
                </c:pt>
                <c:pt idx="6">
                  <c:v>563.72080000000005</c:v>
                </c:pt>
                <c:pt idx="7">
                  <c:v>206.30250000000001</c:v>
                </c:pt>
              </c:numCache>
            </c:numRef>
          </c:xVal>
          <c:yVal>
            <c:numRef>
              <c:f>Sheet1!$B$2:$B$9</c:f>
              <c:numCache>
                <c:formatCode>General</c:formatCode>
                <c:ptCount val="8"/>
                <c:pt idx="0">
                  <c:v>1.03</c:v>
                </c:pt>
                <c:pt idx="1">
                  <c:v>0.748</c:v>
                </c:pt>
                <c:pt idx="2">
                  <c:v>0.751</c:v>
                </c:pt>
                <c:pt idx="3">
                  <c:v>4.0640000000000001</c:v>
                </c:pt>
                <c:pt idx="4">
                  <c:v>1.9950000000000001</c:v>
                </c:pt>
                <c:pt idx="5">
                  <c:v>0.40899999999999997</c:v>
                </c:pt>
                <c:pt idx="6">
                  <c:v>6.1130000000000004</c:v>
                </c:pt>
                <c:pt idx="7">
                  <c:v>2.4860000000000002</c:v>
                </c:pt>
              </c:numCache>
            </c:numRef>
          </c:yVal>
          <c:bubbleSize>
            <c:numRef>
              <c:f>Sheet1!$C$2:$C$9</c:f>
              <c:numCache>
                <c:formatCode>General</c:formatCode>
                <c:ptCount val="8"/>
                <c:pt idx="0">
                  <c:v>523432960</c:v>
                </c:pt>
                <c:pt idx="1">
                  <c:v>246489415</c:v>
                </c:pt>
                <c:pt idx="2">
                  <c:v>205279552</c:v>
                </c:pt>
                <c:pt idx="3">
                  <c:v>108131910</c:v>
                </c:pt>
                <c:pt idx="4">
                  <c:v>101346207</c:v>
                </c:pt>
                <c:pt idx="5">
                  <c:v>61992752</c:v>
                </c:pt>
                <c:pt idx="6">
                  <c:v>44526055</c:v>
                </c:pt>
                <c:pt idx="7">
                  <c:v>12459021</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La Roche-Posay</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
          <c:min val="6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3DD6553-C03E-47FD-998A-C8D5F57510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59EA501-1F68-44AA-98DB-7BF66A8584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1258329-DFD4-486A-81AD-158F9F83E8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65F01E6-DDC0-4367-94A7-C1320368BD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154F57E-BC8D-4EED-A12F-0D47162C4C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8479D7B-7E04-46A2-A2B7-5C5140984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67B9011-8DB1-4276-A65B-4F05292FD3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5A7E9B2-0221-4C9E-A6A8-FDFB593F76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632.50260000000003</c:v>
                </c:pt>
                <c:pt idx="1">
                  <c:v>548.4271</c:v>
                </c:pt>
                <c:pt idx="2">
                  <c:v>681.34450000000004</c:v>
                </c:pt>
                <c:pt idx="3">
                  <c:v>678.15869999999995</c:v>
                </c:pt>
                <c:pt idx="4">
                  <c:v>395.63639999999998</c:v>
                </c:pt>
              </c:numCache>
            </c:numRef>
          </c:xVal>
          <c:yVal>
            <c:numRef>
              <c:f>Sheet1!$B$2:$B$6</c:f>
              <c:numCache>
                <c:formatCode>General</c:formatCode>
                <c:ptCount val="5"/>
                <c:pt idx="0">
                  <c:v>0.874</c:v>
                </c:pt>
                <c:pt idx="1">
                  <c:v>1.736</c:v>
                </c:pt>
                <c:pt idx="2">
                  <c:v>2.4820000000000002</c:v>
                </c:pt>
                <c:pt idx="3">
                  <c:v>0.93500000000000005</c:v>
                </c:pt>
                <c:pt idx="4">
                  <c:v>1.2030000000000001</c:v>
                </c:pt>
              </c:numCache>
            </c:numRef>
          </c:yVal>
          <c:bubbleSize>
            <c:numRef>
              <c:f>Sheet1!$C$2:$C$6</c:f>
              <c:numCache>
                <c:formatCode>General</c:formatCode>
                <c:ptCount val="5"/>
                <c:pt idx="0">
                  <c:v>29936346</c:v>
                </c:pt>
                <c:pt idx="1">
                  <c:v>29139577</c:v>
                </c:pt>
                <c:pt idx="2">
                  <c:v>3833244</c:v>
                </c:pt>
                <c:pt idx="3">
                  <c:v>3764459</c:v>
                </c:pt>
                <c:pt idx="4">
                  <c:v>21760</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Vichy</c:v>
                  </c:pt>
                  <c:pt idx="3">
                    <c:v>Heliocare</c:v>
                  </c:pt>
                  <c:pt idx="4">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8"/>
          <c:min val="31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FCFBFF2-7B00-4C55-896F-88FC9DF3F6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E1E42DD-D581-4A92-B8AF-5F938AFD3D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F77407B-7C78-4442-BF85-EF142CDC18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124BF60-24CA-43BD-AD9A-C2F84241A5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6252638-D21A-4FBA-BA86-3151B5CD96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322DE3C-F77F-483D-AD95-D516093AC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D7CA011-C499-4EBA-B5EF-CBD291CC09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DCC9289-D7F9-478C-98E8-98C4E964AE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16.96550000000002</c:v>
                </c:pt>
                <c:pt idx="1">
                  <c:v>258.39229999999998</c:v>
                </c:pt>
                <c:pt idx="2">
                  <c:v>652.5068</c:v>
                </c:pt>
                <c:pt idx="3">
                  <c:v>301.11059999999998</c:v>
                </c:pt>
                <c:pt idx="4">
                  <c:v>657.21069999999997</c:v>
                </c:pt>
                <c:pt idx="5">
                  <c:v>692.55909999999994</c:v>
                </c:pt>
                <c:pt idx="6">
                  <c:v>245.6242</c:v>
                </c:pt>
                <c:pt idx="7">
                  <c:v>246.9444</c:v>
                </c:pt>
              </c:numCache>
            </c:numRef>
          </c:xVal>
          <c:yVal>
            <c:numRef>
              <c:f>Sheet1!$B$2:$B$9</c:f>
              <c:numCache>
                <c:formatCode>General</c:formatCode>
                <c:ptCount val="8"/>
                <c:pt idx="0">
                  <c:v>4.9809999999999999</c:v>
                </c:pt>
                <c:pt idx="1">
                  <c:v>1.0229999999999999</c:v>
                </c:pt>
                <c:pt idx="2">
                  <c:v>3.0009999999999999</c:v>
                </c:pt>
                <c:pt idx="3">
                  <c:v>1.331</c:v>
                </c:pt>
                <c:pt idx="4">
                  <c:v>4.7190000000000003</c:v>
                </c:pt>
                <c:pt idx="5">
                  <c:v>3.266</c:v>
                </c:pt>
                <c:pt idx="6">
                  <c:v>0.46600000000000003</c:v>
                </c:pt>
                <c:pt idx="7">
                  <c:v>0.44</c:v>
                </c:pt>
              </c:numCache>
            </c:numRef>
          </c:yVal>
          <c:bubbleSize>
            <c:numRef>
              <c:f>Sheet1!$C$2:$C$9</c:f>
              <c:numCache>
                <c:formatCode>General</c:formatCode>
                <c:ptCount val="8"/>
                <c:pt idx="0">
                  <c:v>328173180</c:v>
                </c:pt>
                <c:pt idx="1">
                  <c:v>313276882</c:v>
                </c:pt>
                <c:pt idx="2">
                  <c:v>160863816</c:v>
                </c:pt>
                <c:pt idx="3">
                  <c:v>160839713</c:v>
                </c:pt>
                <c:pt idx="4">
                  <c:v>106499686</c:v>
                </c:pt>
                <c:pt idx="5">
                  <c:v>104277234</c:v>
                </c:pt>
                <c:pt idx="6">
                  <c:v>103052369</c:v>
                </c:pt>
                <c:pt idx="7">
                  <c:v>95736634</c:v>
                </c:pt>
              </c:numCache>
            </c:numRef>
          </c:bubbleSize>
          <c:bubble3D val="0"/>
          <c:extLst>
            <c:ext xmlns:c15="http://schemas.microsoft.com/office/drawing/2012/chart" uri="{02D57815-91ED-43cb-92C2-25804820EDAC}">
              <c15:datalabelsRange>
                <c15:f>Sheet1!$E$2:$E$10</c15:f>
                <c15:dlblRangeCache>
                  <c:ptCount val="9"/>
                  <c:pt idx="0">
                    <c:v>Isdin</c:v>
                  </c:pt>
                  <c:pt idx="1">
                    <c:v>Nivea</c:v>
                  </c:pt>
                  <c:pt idx="2">
                    <c:v>Avene</c:v>
                  </c:pt>
                  <c:pt idx="3">
                    <c:v>Neutrogena</c:v>
                  </c:pt>
                  <c:pt idx="4">
                    <c:v>La Roche-Posay</c:v>
                  </c:pt>
                  <c:pt idx="5">
                    <c:v>Eucerin</c:v>
                  </c:pt>
                  <c:pt idx="6">
                    <c:v>Hawaiian Tropic</c:v>
                  </c:pt>
                  <c:pt idx="7">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1"/>
          <c:min val="19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0C62B66-7D46-451E-89BC-80D60FF3F0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4A9E3CB1-550C-49FB-9581-3B8AFF8B89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BBC6F44-5290-4477-B8B5-B3388497DF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10C3025-3A93-47E6-9D7D-0A414F6523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39C5828-766B-4D2B-BE38-A66AADF2DD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A6EC50D-E0B6-403C-A8BE-BC15A65EA7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3880196-157F-410B-BF57-8FA5BD6F93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21F6AC8-0AC7-4CD7-97D1-A3B0E284F8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8.1935</c:v>
                </c:pt>
              </c:numCache>
            </c:numRef>
          </c:xVal>
          <c:yVal>
            <c:numRef>
              <c:f>Sheet1!$B$2:$B$2</c:f>
              <c:numCache>
                <c:formatCode>General</c:formatCode>
                <c:ptCount val="1"/>
                <c:pt idx="0">
                  <c:v>0.183</c:v>
                </c:pt>
              </c:numCache>
            </c:numRef>
          </c:yVal>
          <c:bubbleSize>
            <c:numRef>
              <c:f>Sheet1!$C$2:$C$2</c:f>
              <c:numCache>
                <c:formatCode>General</c:formatCode>
                <c:ptCount val="1"/>
                <c:pt idx="0">
                  <c:v>14208</c:v>
                </c:pt>
              </c:numCache>
            </c:numRef>
          </c:bubbleSize>
          <c:bubble3D val="0"/>
          <c:extLst>
            <c:ext xmlns:c15="http://schemas.microsoft.com/office/drawing/2012/chart" uri="{02D57815-91ED-43cb-92C2-25804820EDAC}">
              <c15:datalabelsRange>
                <c15:f>Sheet1!$E$2:$E$10</c15:f>
                <c15:dlblRangeCache>
                  <c:ptCount val="9"/>
                  <c:pt idx="0">
                    <c:v>Hawaiian Trop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4F856D-3C55-4341-B88F-E6DB1E0E8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205D331-9014-486B-94CB-92E5BB242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D94DE0D-65CD-45FD-9439-8740D2173D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02BA1EC-D3E2-4FC2-AD98-6C6AA9D846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42342BB-C091-4815-9EFD-663F89EBF5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4DD56A6-DCC3-456A-9FE9-40F23BA841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9AF6C5F-6E5E-4867-9391-2F4AEEBBE5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7F42CCE-FD86-45AA-8BEF-B2DE4D7CA1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14.13599999999997</c:v>
                </c:pt>
                <c:pt idx="1">
                  <c:v>645.86260000000004</c:v>
                </c:pt>
                <c:pt idx="2">
                  <c:v>726.0145</c:v>
                </c:pt>
                <c:pt idx="3">
                  <c:v>646.51089999999999</c:v>
                </c:pt>
                <c:pt idx="4">
                  <c:v>592.42269999999996</c:v>
                </c:pt>
                <c:pt idx="5">
                  <c:v>581.06089999999995</c:v>
                </c:pt>
                <c:pt idx="6">
                  <c:v>261.5958</c:v>
                </c:pt>
                <c:pt idx="7">
                  <c:v>270.21260000000001</c:v>
                </c:pt>
              </c:numCache>
            </c:numRef>
          </c:xVal>
          <c:yVal>
            <c:numRef>
              <c:f>Sheet1!$B$2:$B$9</c:f>
              <c:numCache>
                <c:formatCode>General</c:formatCode>
                <c:ptCount val="8"/>
                <c:pt idx="0">
                  <c:v>0.98499999999999999</c:v>
                </c:pt>
                <c:pt idx="1">
                  <c:v>1.04</c:v>
                </c:pt>
                <c:pt idx="2">
                  <c:v>1.2529999999999999</c:v>
                </c:pt>
                <c:pt idx="3">
                  <c:v>1.04</c:v>
                </c:pt>
                <c:pt idx="4">
                  <c:v>0.95099999999999996</c:v>
                </c:pt>
                <c:pt idx="5">
                  <c:v>1.2</c:v>
                </c:pt>
                <c:pt idx="6">
                  <c:v>0.52500000000000002</c:v>
                </c:pt>
                <c:pt idx="7">
                  <c:v>0.44700000000000001</c:v>
                </c:pt>
              </c:numCache>
            </c:numRef>
          </c:yVal>
          <c:bubbleSize>
            <c:numRef>
              <c:f>Sheet1!$C$2:$C$9</c:f>
              <c:numCache>
                <c:formatCode>General</c:formatCode>
                <c:ptCount val="8"/>
                <c:pt idx="0">
                  <c:v>147422120</c:v>
                </c:pt>
                <c:pt idx="1">
                  <c:v>96362699</c:v>
                </c:pt>
                <c:pt idx="2">
                  <c:v>58831861</c:v>
                </c:pt>
                <c:pt idx="3">
                  <c:v>26462337</c:v>
                </c:pt>
                <c:pt idx="4">
                  <c:v>21888242</c:v>
                </c:pt>
                <c:pt idx="5">
                  <c:v>18933868</c:v>
                </c:pt>
                <c:pt idx="6">
                  <c:v>16500156</c:v>
                </c:pt>
                <c:pt idx="7">
                  <c:v>714442</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Avene</c:v>
                  </c:pt>
                  <c:pt idx="3">
                    <c:v>Heliocare</c:v>
                  </c:pt>
                  <c:pt idx="4">
                    <c:v>Eucerin</c:v>
                  </c:pt>
                  <c:pt idx="5">
                    <c:v>Photoderm</c:v>
                  </c:pt>
                  <c:pt idx="6">
                    <c:v>Nivea</c:v>
                  </c:pt>
                  <c:pt idx="7">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71"/>
          <c:min val="20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C0FD15E-16AD-473F-8701-9EC87C00C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D6C607C-0A8A-46CE-8738-30B0A84797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8F70B4-2B95-49D3-8D37-433FB0E7C5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B05A990-B495-4B71-9F71-7CC6D69174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7B85D11-D789-4395-85B2-4F5F76F1A7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FB08FD6-181B-4E1F-B18E-CCFE66364B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CB2114F-EDC5-4D57-95B4-5BDF747B9D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5D23ADB-F70C-428F-B359-70920A9B4D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74.8569</c:v>
                </c:pt>
                <c:pt idx="1">
                  <c:v>627.3288</c:v>
                </c:pt>
                <c:pt idx="2">
                  <c:v>623.38030000000003</c:v>
                </c:pt>
                <c:pt idx="3">
                  <c:v>577.38869999999997</c:v>
                </c:pt>
                <c:pt idx="4">
                  <c:v>646.18470000000002</c:v>
                </c:pt>
                <c:pt idx="5">
                  <c:v>721.47519999999997</c:v>
                </c:pt>
                <c:pt idx="6">
                  <c:v>495.24310000000003</c:v>
                </c:pt>
              </c:numCache>
            </c:numRef>
          </c:xVal>
          <c:yVal>
            <c:numRef>
              <c:f>Sheet1!$B$2:$B$8</c:f>
              <c:numCache>
                <c:formatCode>General</c:formatCode>
                <c:ptCount val="7"/>
                <c:pt idx="0">
                  <c:v>0.496</c:v>
                </c:pt>
                <c:pt idx="1">
                  <c:v>0.85199999999999998</c:v>
                </c:pt>
                <c:pt idx="2">
                  <c:v>4.1539999999999999</c:v>
                </c:pt>
                <c:pt idx="3">
                  <c:v>3.8279999999999998</c:v>
                </c:pt>
                <c:pt idx="4">
                  <c:v>3.6280000000000001</c:v>
                </c:pt>
                <c:pt idx="5">
                  <c:v>6.1589999999999998</c:v>
                </c:pt>
                <c:pt idx="6">
                  <c:v>1.6559999999999999</c:v>
                </c:pt>
              </c:numCache>
            </c:numRef>
          </c:yVal>
          <c:bubbleSize>
            <c:numRef>
              <c:f>Sheet1!$C$2:$C$8</c:f>
              <c:numCache>
                <c:formatCode>General</c:formatCode>
                <c:ptCount val="7"/>
                <c:pt idx="0">
                  <c:v>129845148</c:v>
                </c:pt>
                <c:pt idx="1">
                  <c:v>112770510</c:v>
                </c:pt>
                <c:pt idx="2">
                  <c:v>91754106</c:v>
                </c:pt>
                <c:pt idx="3">
                  <c:v>61804261</c:v>
                </c:pt>
                <c:pt idx="4">
                  <c:v>23401579</c:v>
                </c:pt>
                <c:pt idx="5">
                  <c:v>13728230</c:v>
                </c:pt>
                <c:pt idx="6">
                  <c:v>6321283</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Eucerin</c:v>
                  </c:pt>
                  <c:pt idx="3">
                    <c:v>La Roche-Posay</c:v>
                  </c:pt>
                  <c:pt idx="4">
                    <c:v>Heliocare</c:v>
                  </c:pt>
                  <c:pt idx="5">
                    <c:v>Photoderm</c:v>
                  </c:pt>
                  <c:pt idx="6">
                    <c:v>Cetaph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66"/>
          <c:min val="2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D3E67EC-3E94-42AD-A750-771CAC67E0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E2CC515-1EA0-4C22-A543-A9E4C3BE48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C92ED15-645F-4BFD-BE9F-11182C741B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7B798F1-EB60-4975-AAA1-E0BAAF2407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707FF3F-6EBC-4B26-A91A-9210A8B7E4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8822E85-5E47-4ECD-AB3A-7A3BE62EC5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7D450AF-A280-46AE-AF38-30E311F573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3CAA78D-BE8D-4B13-8ECF-1D8550DFDF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678.49900000000002</c:v>
                </c:pt>
                <c:pt idx="1">
                  <c:v>788.79700000000003</c:v>
                </c:pt>
              </c:numCache>
            </c:numRef>
          </c:xVal>
          <c:yVal>
            <c:numRef>
              <c:f>Sheet1!$B$2:$B$3</c:f>
              <c:numCache>
                <c:formatCode>General</c:formatCode>
                <c:ptCount val="2"/>
                <c:pt idx="0">
                  <c:v>0.90100000000000002</c:v>
                </c:pt>
                <c:pt idx="1">
                  <c:v>2.1040000000000001</c:v>
                </c:pt>
              </c:numCache>
            </c:numRef>
          </c:yVal>
          <c:bubbleSize>
            <c:numRef>
              <c:f>Sheet1!$C$2:$C$3</c:f>
              <c:numCache>
                <c:formatCode>General</c:formatCode>
                <c:ptCount val="2"/>
                <c:pt idx="0">
                  <c:v>34963731</c:v>
                </c:pt>
                <c:pt idx="1">
                  <c:v>7290851</c:v>
                </c:pt>
              </c:numCache>
            </c:numRef>
          </c:bubbleSize>
          <c:bubble3D val="0"/>
          <c:extLst>
            <c:ext xmlns:c15="http://schemas.microsoft.com/office/drawing/2012/chart" uri="{02D57815-91ED-43cb-92C2-25804820EDAC}">
              <c15:datalabelsRange>
                <c15:f>Sheet1!$E$2:$E$10</c15:f>
                <c15:dlblRangeCache>
                  <c:ptCount val="9"/>
                  <c:pt idx="0">
                    <c:v>Eucerin</c:v>
                  </c:pt>
                  <c:pt idx="1">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47"/>
          <c:min val="54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1C4B4CD-5493-4EB7-92B0-79129F073A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FA18B45-AFAE-4FEF-A7A2-8630227EF6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88E0FD2-DEED-46A5-BB98-675A64F97D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AFEB1A5-6C5B-461A-9A91-F0730E8C31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D998A24-CAA2-4CCE-AD8E-7DF4A61845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1F918CA-24A0-4F38-A9ED-57D1E0F235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6539F21-9555-44A3-AB15-A3B980AF44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7C8E88D-BEF4-4630-BC50-D8BBF34A7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5.20339999999999</c:v>
                </c:pt>
                <c:pt idx="1">
                  <c:v>208.14179999999999</c:v>
                </c:pt>
                <c:pt idx="2">
                  <c:v>189.946</c:v>
                </c:pt>
                <c:pt idx="3">
                  <c:v>242.57839999999999</c:v>
                </c:pt>
                <c:pt idx="4">
                  <c:v>623.33420000000001</c:v>
                </c:pt>
                <c:pt idx="5">
                  <c:v>207.99539999999999</c:v>
                </c:pt>
                <c:pt idx="6">
                  <c:v>744.73800000000006</c:v>
                </c:pt>
                <c:pt idx="7">
                  <c:v>675.7758</c:v>
                </c:pt>
              </c:numCache>
            </c:numRef>
          </c:xVal>
          <c:yVal>
            <c:numRef>
              <c:f>Sheet1!$B$2:$B$9</c:f>
              <c:numCache>
                <c:formatCode>General</c:formatCode>
                <c:ptCount val="8"/>
                <c:pt idx="0">
                  <c:v>0.90600000000000003</c:v>
                </c:pt>
                <c:pt idx="1">
                  <c:v>0.80900000000000005</c:v>
                </c:pt>
                <c:pt idx="2">
                  <c:v>0.83299999999999996</c:v>
                </c:pt>
                <c:pt idx="3">
                  <c:v>3.9609999999999999</c:v>
                </c:pt>
                <c:pt idx="4">
                  <c:v>4.7930000000000001</c:v>
                </c:pt>
                <c:pt idx="5">
                  <c:v>2.5579999999999998</c:v>
                </c:pt>
                <c:pt idx="6">
                  <c:v>4.5679999999999996</c:v>
                </c:pt>
                <c:pt idx="7">
                  <c:v>2.54</c:v>
                </c:pt>
              </c:numCache>
            </c:numRef>
          </c:yVal>
          <c:bubbleSize>
            <c:numRef>
              <c:f>Sheet1!$C$2:$C$9</c:f>
              <c:numCache>
                <c:formatCode>General</c:formatCode>
                <c:ptCount val="8"/>
                <c:pt idx="0">
                  <c:v>318387310</c:v>
                </c:pt>
                <c:pt idx="1">
                  <c:v>245934124</c:v>
                </c:pt>
                <c:pt idx="2">
                  <c:v>103324944</c:v>
                </c:pt>
                <c:pt idx="3">
                  <c:v>26871382</c:v>
                </c:pt>
                <c:pt idx="4">
                  <c:v>18994862</c:v>
                </c:pt>
                <c:pt idx="5">
                  <c:v>13146973</c:v>
                </c:pt>
                <c:pt idx="6">
                  <c:v>11537481</c:v>
                </c:pt>
                <c:pt idx="7">
                  <c:v>10352210</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Loreal Paris</c:v>
                  </c:pt>
                  <c:pt idx="4">
                    <c:v>Isdin</c:v>
                  </c:pt>
                  <c:pt idx="5">
                    <c:v>Beauty Care</c:v>
                  </c:pt>
                  <c:pt idx="6">
                    <c:v>La Roche-Posay</c:v>
                  </c:pt>
                  <c:pt idx="7">
                    <c:v>Eucer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4"/>
          <c:min val="15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798C482-D53C-48BF-9D34-C38F8E3F97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069C1F-A5F2-4209-B621-185F65B66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11F5C7F-B595-4455-83D2-121E2155C1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4AD2527-23B1-44F4-A7D0-85C2BBF451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3AEE9A7-AB05-430E-8FF2-71F4385D78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2424CF2-F736-4E34-BC4F-B9F8FD1636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C321E15-CFF7-43C9-B310-160F590EB2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48471BE-5F0C-40D5-96A8-E7C40633F5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33.06200000000001</c:v>
                </c:pt>
                <c:pt idx="1">
                  <c:v>614.44690000000003</c:v>
                </c:pt>
                <c:pt idx="2">
                  <c:v>287.61689999999999</c:v>
                </c:pt>
                <c:pt idx="3">
                  <c:v>624.47</c:v>
                </c:pt>
                <c:pt idx="4">
                  <c:v>404.45150000000001</c:v>
                </c:pt>
              </c:numCache>
            </c:numRef>
          </c:xVal>
          <c:yVal>
            <c:numRef>
              <c:f>Sheet1!$B$2:$B$6</c:f>
              <c:numCache>
                <c:formatCode>General</c:formatCode>
                <c:ptCount val="5"/>
                <c:pt idx="0">
                  <c:v>0.90800000000000003</c:v>
                </c:pt>
                <c:pt idx="1">
                  <c:v>1.6819999999999999</c:v>
                </c:pt>
                <c:pt idx="2">
                  <c:v>2.903</c:v>
                </c:pt>
                <c:pt idx="3">
                  <c:v>2.6840000000000002</c:v>
                </c:pt>
                <c:pt idx="4">
                  <c:v>4.085</c:v>
                </c:pt>
              </c:numCache>
            </c:numRef>
          </c:yVal>
          <c:bubbleSize>
            <c:numRef>
              <c:f>Sheet1!$C$2:$C$6</c:f>
              <c:numCache>
                <c:formatCode>General</c:formatCode>
                <c:ptCount val="5"/>
                <c:pt idx="0">
                  <c:v>96910458</c:v>
                </c:pt>
                <c:pt idx="1">
                  <c:v>6626810</c:v>
                </c:pt>
                <c:pt idx="2">
                  <c:v>4484235</c:v>
                </c:pt>
                <c:pt idx="3">
                  <c:v>4388775</c:v>
                </c:pt>
                <c:pt idx="4">
                  <c:v>2967056</c:v>
                </c:pt>
              </c:numCache>
            </c:numRef>
          </c:bubbleSize>
          <c:bubble3D val="0"/>
          <c:extLst>
            <c:ext xmlns:c15="http://schemas.microsoft.com/office/drawing/2012/chart" uri="{02D57815-91ED-43cb-92C2-25804820EDAC}">
              <c15:datalabelsRange>
                <c15:f>Sheet1!$E$2:$E$10</c15:f>
                <c15:dlblRangeCache>
                  <c:ptCount val="9"/>
                  <c:pt idx="0">
                    <c:v>Banana Boat</c:v>
                  </c:pt>
                  <c:pt idx="1">
                    <c:v>Isdin</c:v>
                  </c:pt>
                  <c:pt idx="2">
                    <c:v>Eclipsol</c:v>
                  </c:pt>
                  <c:pt idx="3">
                    <c:v>La Roche-Posay</c:v>
                  </c:pt>
                  <c:pt idx="4">
                    <c:v>Muste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49"/>
          <c:min val="18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A3C12A5-69BA-496B-9CF9-6517CD0660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AC74E0B-9CE6-4A1A-89CA-860054179D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4DDF753-8756-4E02-A358-9A6ECFCA97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872EF8-678E-4E48-8BA6-F0DE3022C2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98B7896-199B-464E-B42B-0053DC48BD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DDB313F-FED0-470A-81A4-D98EDEFE97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2D4EA9C-73D2-4ABA-A883-75232C2D18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C844F26-9252-4C54-8CA6-27E0DF81BF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21.58029999999997</c:v>
                </c:pt>
                <c:pt idx="1">
                  <c:v>640.02089999999998</c:v>
                </c:pt>
                <c:pt idx="2">
                  <c:v>685.56870000000004</c:v>
                </c:pt>
                <c:pt idx="3">
                  <c:v>284.22660000000002</c:v>
                </c:pt>
                <c:pt idx="4">
                  <c:v>702.84829999999999</c:v>
                </c:pt>
                <c:pt idx="5">
                  <c:v>251.89150000000001</c:v>
                </c:pt>
                <c:pt idx="6">
                  <c:v>204.7139</c:v>
                </c:pt>
                <c:pt idx="7">
                  <c:v>282.38249999999999</c:v>
                </c:pt>
              </c:numCache>
            </c:numRef>
          </c:xVal>
          <c:yVal>
            <c:numRef>
              <c:f>Sheet1!$B$2:$B$9</c:f>
              <c:numCache>
                <c:formatCode>General</c:formatCode>
                <c:ptCount val="8"/>
                <c:pt idx="0">
                  <c:v>1.554</c:v>
                </c:pt>
                <c:pt idx="1">
                  <c:v>2.609</c:v>
                </c:pt>
                <c:pt idx="2">
                  <c:v>2.2949999999999999</c:v>
                </c:pt>
                <c:pt idx="3">
                  <c:v>0.496</c:v>
                </c:pt>
                <c:pt idx="4">
                  <c:v>1.877</c:v>
                </c:pt>
                <c:pt idx="5">
                  <c:v>0.29899999999999999</c:v>
                </c:pt>
                <c:pt idx="6">
                  <c:v>0.33400000000000002</c:v>
                </c:pt>
                <c:pt idx="7">
                  <c:v>2.6850000000000001</c:v>
                </c:pt>
              </c:numCache>
            </c:numRef>
          </c:yVal>
          <c:bubbleSize>
            <c:numRef>
              <c:f>Sheet1!$C$2:$C$9</c:f>
              <c:numCache>
                <c:formatCode>General</c:formatCode>
                <c:ptCount val="8"/>
                <c:pt idx="0">
                  <c:v>452020654</c:v>
                </c:pt>
                <c:pt idx="1">
                  <c:v>289763721</c:v>
                </c:pt>
                <c:pt idx="2">
                  <c:v>201647013</c:v>
                </c:pt>
                <c:pt idx="3">
                  <c:v>187539514</c:v>
                </c:pt>
                <c:pt idx="4">
                  <c:v>176210394</c:v>
                </c:pt>
                <c:pt idx="5">
                  <c:v>91049215</c:v>
                </c:pt>
                <c:pt idx="6">
                  <c:v>83479659</c:v>
                </c:pt>
                <c:pt idx="7">
                  <c:v>530032</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Eucerin</c:v>
                  </c:pt>
                  <c:pt idx="3">
                    <c:v>Nivea</c:v>
                  </c:pt>
                  <c:pt idx="4">
                    <c:v>Avene</c:v>
                  </c:pt>
                  <c:pt idx="5">
                    <c:v>Hawaiian Tropic</c:v>
                  </c:pt>
                  <c:pt idx="6">
                    <c:v>Banana Boat</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3"/>
          <c:min val="16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C7DFBEA-0E3C-4621-8C78-94B60D736B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DB798D45-6C17-4315-940C-193815070D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4690577-963E-4AC3-A568-B73A5D635A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3006BEA-F45F-4E7A-96F4-68DC9BC54B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2AE714C-3015-46F9-B767-82DCA06697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4533F64-81D7-40E7-84ED-9FDC57A50F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ACB8E54-D5E3-4005-BA8A-2199707379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66DD863-9FAC-43E0-9A9B-83E61E65C2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6.14070000000001</c:v>
                </c:pt>
              </c:numCache>
            </c:numRef>
          </c:xVal>
          <c:yVal>
            <c:numRef>
              <c:f>Sheet1!$B$2:$B$2</c:f>
              <c:numCache>
                <c:formatCode>General</c:formatCode>
                <c:ptCount val="1"/>
                <c:pt idx="0">
                  <c:v>1</c:v>
                </c:pt>
              </c:numCache>
            </c:numRef>
          </c:yVal>
          <c:bubbleSize>
            <c:numRef>
              <c:f>Sheet1!$C$2:$C$2</c:f>
              <c:numCache>
                <c:formatCode>General</c:formatCode>
                <c:ptCount val="1"/>
                <c:pt idx="0">
                  <c:v>3247129</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7"/>
          <c:min val="16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4880FF1-2A26-474C-B556-5A422F5C6B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97CD179C-9750-4292-B7F8-F9A756CC2B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9BB9038-7920-4B23-8D70-B89E8BF8F0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3C80EAC-A99F-42B1-9630-DC7A3BCC62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F0055DD-0D27-427D-A534-295144A07E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3ECA514-1637-4BE0-A9A5-3FCFBCF917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AEFCE3B-2EBC-408A-A492-F9BE8278BD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9A72CBB-5204-4349-8E36-7B7B46C95B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05699999999999</c:v>
                </c:pt>
              </c:numCache>
            </c:numRef>
          </c:xVal>
          <c:yVal>
            <c:numRef>
              <c:f>Sheet1!$B$2:$B$2</c:f>
              <c:numCache>
                <c:formatCode>General</c:formatCode>
                <c:ptCount val="1"/>
                <c:pt idx="0">
                  <c:v>0.93899999999999995</c:v>
                </c:pt>
              </c:numCache>
            </c:numRef>
          </c:yVal>
          <c:bubbleSize>
            <c:numRef>
              <c:f>Sheet1!$C$2:$C$2</c:f>
              <c:numCache>
                <c:formatCode>General</c:formatCode>
                <c:ptCount val="1"/>
                <c:pt idx="0">
                  <c:v>13435038</c:v>
                </c:pt>
              </c:numCache>
            </c:numRef>
          </c:bubbleSize>
          <c:bubble3D val="0"/>
          <c:extLst>
            <c:ext xmlns:c15="http://schemas.microsoft.com/office/drawing/2012/chart" uri="{02D57815-91ED-43cb-92C2-25804820EDAC}">
              <c15:datalabelsRange>
                <c15:f>Sheet1!$E$2:$E$10</c15:f>
                <c15:dlblRangeCache>
                  <c:ptCount val="9"/>
                  <c:pt idx="0">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8"/>
          <c:min val="17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43CE22D-5CDA-4063-9D45-6B78188567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E2BD907-1FB4-4DB6-8188-4D9E61928E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9A851B6-5D31-4030-B32C-9F0F2DF509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7B96AE3-61CC-4B99-911B-1B49677886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1C60F21-F49F-4460-8CD1-5C10A8798C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0141A90-1F0D-4E99-BC90-36955D73CD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CC3AC6F-1108-40D3-8914-6B9D4A252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0314432-0153-43B4-A5FF-8C099DF2C0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721.28530000000001</c:v>
                </c:pt>
                <c:pt idx="1">
                  <c:v>975.346</c:v>
                </c:pt>
                <c:pt idx="2">
                  <c:v>247.04259999999999</c:v>
                </c:pt>
                <c:pt idx="3">
                  <c:v>357.13549999999998</c:v>
                </c:pt>
                <c:pt idx="4">
                  <c:v>605.37639999999999</c:v>
                </c:pt>
                <c:pt idx="5">
                  <c:v>317.80939999999998</c:v>
                </c:pt>
              </c:numCache>
            </c:numRef>
          </c:xVal>
          <c:yVal>
            <c:numRef>
              <c:f>Sheet1!$B$2:$B$7</c:f>
              <c:numCache>
                <c:formatCode>General</c:formatCode>
                <c:ptCount val="6"/>
                <c:pt idx="0">
                  <c:v>1.2629999999999999</c:v>
                </c:pt>
                <c:pt idx="1">
                  <c:v>2.3479999999999999</c:v>
                </c:pt>
                <c:pt idx="2">
                  <c:v>0.29099999999999998</c:v>
                </c:pt>
                <c:pt idx="3">
                  <c:v>1.034</c:v>
                </c:pt>
                <c:pt idx="4">
                  <c:v>2.3410000000000002</c:v>
                </c:pt>
                <c:pt idx="5">
                  <c:v>1.042</c:v>
                </c:pt>
              </c:numCache>
            </c:numRef>
          </c:yVal>
          <c:bubbleSize>
            <c:numRef>
              <c:f>Sheet1!$C$2:$C$7</c:f>
              <c:numCache>
                <c:formatCode>General</c:formatCode>
                <c:ptCount val="6"/>
                <c:pt idx="0">
                  <c:v>24116173</c:v>
                </c:pt>
                <c:pt idx="1">
                  <c:v>4087675</c:v>
                </c:pt>
                <c:pt idx="2">
                  <c:v>3113231</c:v>
                </c:pt>
                <c:pt idx="3">
                  <c:v>2739229</c:v>
                </c:pt>
                <c:pt idx="4">
                  <c:v>2301641</c:v>
                </c:pt>
                <c:pt idx="5">
                  <c:v>1190832</c:v>
                </c:pt>
              </c:numCache>
            </c:numRef>
          </c:bubbleSize>
          <c:bubble3D val="0"/>
          <c:extLst>
            <c:ext xmlns:c15="http://schemas.microsoft.com/office/drawing/2012/chart" uri="{02D57815-91ED-43cb-92C2-25804820EDAC}">
              <c15:datalabelsRange>
                <c15:f>Sheet1!$E$2:$E$10</c15:f>
                <c15:dlblRangeCache>
                  <c:ptCount val="9"/>
                  <c:pt idx="0">
                    <c:v>Photoderm</c:v>
                  </c:pt>
                  <c:pt idx="1">
                    <c:v>La Roche-Posay</c:v>
                  </c:pt>
                  <c:pt idx="2">
                    <c:v>Banana Boat</c:v>
                  </c:pt>
                  <c:pt idx="3">
                    <c:v>Australian Gold</c:v>
                  </c:pt>
                  <c:pt idx="4">
                    <c:v>Genove</c:v>
                  </c:pt>
                  <c:pt idx="5">
                    <c:v>Ocean Po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70"/>
          <c:min val="19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848105C-B435-4B39-8359-C99765DB0F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85B3B1-8C94-4949-A333-D1084ABC9D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81D644F-5582-4387-BF29-79E021C80C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6462737-DFED-423C-830E-9DF5C79933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13C6EC5-88E4-487D-95F2-89219EE764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53AFE1F-FD79-4557-BB5A-0E8A8DEE7C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D89E5C0-D3EF-49F4-B0FF-7E8AD4B48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1D638BE-CCBE-414A-8223-D25B47705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475.40699999999998</c:v>
                </c:pt>
                <c:pt idx="1">
                  <c:v>550.43579999999997</c:v>
                </c:pt>
                <c:pt idx="2">
                  <c:v>350.09210000000002</c:v>
                </c:pt>
              </c:numCache>
            </c:numRef>
          </c:xVal>
          <c:yVal>
            <c:numRef>
              <c:f>Sheet1!$B$2:$B$4</c:f>
              <c:numCache>
                <c:formatCode>General</c:formatCode>
                <c:ptCount val="3"/>
                <c:pt idx="0">
                  <c:v>1.603</c:v>
                </c:pt>
                <c:pt idx="1">
                  <c:v>0.74299999999999999</c:v>
                </c:pt>
                <c:pt idx="2">
                  <c:v>0.28499999999999998</c:v>
                </c:pt>
              </c:numCache>
            </c:numRef>
          </c:yVal>
          <c:bubbleSize>
            <c:numRef>
              <c:f>Sheet1!$C$2:$C$4</c:f>
              <c:numCache>
                <c:formatCode>General</c:formatCode>
                <c:ptCount val="3"/>
                <c:pt idx="0">
                  <c:v>36576861</c:v>
                </c:pt>
                <c:pt idx="1">
                  <c:v>12639657</c:v>
                </c:pt>
                <c:pt idx="2">
                  <c:v>2161819</c:v>
                </c:pt>
              </c:numCache>
            </c:numRef>
          </c:bubbleSize>
          <c:bubble3D val="0"/>
          <c:extLst>
            <c:ext xmlns:c15="http://schemas.microsoft.com/office/drawing/2012/chart" uri="{02D57815-91ED-43cb-92C2-25804820EDAC}">
              <c15:datalabelsRange>
                <c15:f>Sheet1!$E$2:$E$10</c15:f>
                <c15:dlblRangeCache>
                  <c:ptCount val="9"/>
                  <c:pt idx="0">
                    <c:v>Isdin</c:v>
                  </c:pt>
                  <c:pt idx="1">
                    <c:v>Heliocare</c:v>
                  </c:pt>
                  <c:pt idx="2">
                    <c:v>Neutrogen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1"/>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C9A519A-2F7C-4A79-8F86-C48EA1135A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A935BBE-F5AC-4D40-9627-680D6D2AF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5019E41-CF59-4E73-A255-D905584F97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A4DBB4-7E8C-4D87-8664-83E0E7173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2BA1814-0CEC-42B9-B5C1-2D2F0A5C45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4D2F7D7-6948-48E1-8EF4-3E0A03A860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57EC683-88A7-4760-AC24-996856D7F3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56CB71D-0B72-4DF8-95C3-5674255967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637.73310000000004</c:v>
                </c:pt>
                <c:pt idx="1">
                  <c:v>558.16319999999996</c:v>
                </c:pt>
                <c:pt idx="2">
                  <c:v>711.97400000000005</c:v>
                </c:pt>
                <c:pt idx="3">
                  <c:v>704.71749999999997</c:v>
                </c:pt>
                <c:pt idx="4">
                  <c:v>395.63639999999998</c:v>
                </c:pt>
              </c:numCache>
            </c:numRef>
          </c:xVal>
          <c:yVal>
            <c:numRef>
              <c:f>Sheet1!$B$2:$B$6</c:f>
              <c:numCache>
                <c:formatCode>General</c:formatCode>
                <c:ptCount val="5"/>
                <c:pt idx="0">
                  <c:v>0.84799999999999998</c:v>
                </c:pt>
                <c:pt idx="1">
                  <c:v>1.726</c:v>
                </c:pt>
                <c:pt idx="2">
                  <c:v>2.8479999999999999</c:v>
                </c:pt>
                <c:pt idx="3">
                  <c:v>0.93700000000000006</c:v>
                </c:pt>
                <c:pt idx="4">
                  <c:v>1.159</c:v>
                </c:pt>
              </c:numCache>
            </c:numRef>
          </c:yVal>
          <c:bubbleSize>
            <c:numRef>
              <c:f>Sheet1!$C$2:$C$6</c:f>
              <c:numCache>
                <c:formatCode>General</c:formatCode>
                <c:ptCount val="5"/>
                <c:pt idx="0">
                  <c:v>29178838</c:v>
                </c:pt>
                <c:pt idx="1">
                  <c:v>28021467</c:v>
                </c:pt>
                <c:pt idx="2">
                  <c:v>3774174</c:v>
                </c:pt>
                <c:pt idx="3">
                  <c:v>3737117</c:v>
                </c:pt>
                <c:pt idx="4">
                  <c:v>21760</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Vichy</c:v>
                  </c:pt>
                  <c:pt idx="3">
                    <c:v>Heliocare</c:v>
                  </c:pt>
                  <c:pt idx="4">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4"/>
          <c:min val="31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82B43DB-7799-4BE0-9932-3B18BA8D4C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C5A5CEF-F03F-4652-95E5-92CBBC9813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9181CE6-90BD-4B37-BA34-DFF9FC9517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6CBB0CA-D979-4AD3-8E4E-AD537758B9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C119E65-8AC2-46A9-9507-F0FDCC25FD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DF0D5C7-D76C-4135-9AD0-1CB7085381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7790D76-026D-4CAB-AD16-37F10E1AC3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3AA1EFA-C286-4BE6-8DE0-7C46425ED7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18.10490000000004</c:v>
                </c:pt>
                <c:pt idx="1">
                  <c:v>257.71620000000001</c:v>
                </c:pt>
                <c:pt idx="2">
                  <c:v>301.66059999999999</c:v>
                </c:pt>
                <c:pt idx="3">
                  <c:v>659.26099999999997</c:v>
                </c:pt>
                <c:pt idx="4">
                  <c:v>247.16579999999999</c:v>
                </c:pt>
                <c:pt idx="5">
                  <c:v>703.88639999999998</c:v>
                </c:pt>
                <c:pt idx="6">
                  <c:v>675.80600000000004</c:v>
                </c:pt>
                <c:pt idx="7">
                  <c:v>250.20859999999999</c:v>
                </c:pt>
              </c:numCache>
            </c:numRef>
          </c:xVal>
          <c:yVal>
            <c:numRef>
              <c:f>Sheet1!$B$2:$B$9</c:f>
              <c:numCache>
                <c:formatCode>General</c:formatCode>
                <c:ptCount val="8"/>
                <c:pt idx="0">
                  <c:v>4.8869999999999996</c:v>
                </c:pt>
                <c:pt idx="1">
                  <c:v>0.98499999999999999</c:v>
                </c:pt>
                <c:pt idx="2">
                  <c:v>1.3009999999999999</c:v>
                </c:pt>
                <c:pt idx="3">
                  <c:v>2.7919999999999998</c:v>
                </c:pt>
                <c:pt idx="4">
                  <c:v>0.45700000000000002</c:v>
                </c:pt>
                <c:pt idx="5">
                  <c:v>3.246</c:v>
                </c:pt>
                <c:pt idx="6">
                  <c:v>4.7869999999999999</c:v>
                </c:pt>
                <c:pt idx="7">
                  <c:v>0.433</c:v>
                </c:pt>
              </c:numCache>
            </c:numRef>
          </c:yVal>
          <c:bubbleSize>
            <c:numRef>
              <c:f>Sheet1!$C$2:$C$9</c:f>
              <c:numCache>
                <c:formatCode>General</c:formatCode>
                <c:ptCount val="8"/>
                <c:pt idx="0">
                  <c:v>293910122</c:v>
                </c:pt>
                <c:pt idx="1">
                  <c:v>293211158</c:v>
                </c:pt>
                <c:pt idx="2">
                  <c:v>158153722</c:v>
                </c:pt>
                <c:pt idx="3">
                  <c:v>134418054</c:v>
                </c:pt>
                <c:pt idx="4">
                  <c:v>100232388</c:v>
                </c:pt>
                <c:pt idx="5">
                  <c:v>93898444</c:v>
                </c:pt>
                <c:pt idx="6">
                  <c:v>92790193</c:v>
                </c:pt>
                <c:pt idx="7">
                  <c:v>90013296</c:v>
                </c:pt>
              </c:numCache>
            </c:numRef>
          </c:bubbleSize>
          <c:bubble3D val="0"/>
          <c:extLst>
            <c:ext xmlns:c15="http://schemas.microsoft.com/office/drawing/2012/chart" uri="{02D57815-91ED-43cb-92C2-25804820EDAC}">
              <c15:datalabelsRange>
                <c15:f>Sheet1!$E$2:$E$10</c15:f>
                <c15:dlblRangeCache>
                  <c:ptCount val="9"/>
                  <c:pt idx="0">
                    <c:v>Isdin</c:v>
                  </c:pt>
                  <c:pt idx="1">
                    <c:v>Nivea</c:v>
                  </c:pt>
                  <c:pt idx="2">
                    <c:v>Neutrogena</c:v>
                  </c:pt>
                  <c:pt idx="3">
                    <c:v>Avene</c:v>
                  </c:pt>
                  <c:pt idx="4">
                    <c:v>Hawaiian Tropic</c:v>
                  </c:pt>
                  <c:pt idx="5">
                    <c:v>Eucerin</c:v>
                  </c:pt>
                  <c:pt idx="6">
                    <c:v>La Roche-Posay</c:v>
                  </c:pt>
                  <c:pt idx="7">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5"/>
          <c:min val="19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AF88AD8-C1F1-4C96-B39C-F0EFAB0F77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501522D-A8E3-4136-90E7-0A6BA1DF6B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7C364C9-E5A5-496F-A2BC-F36191DB84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1308CF5-A395-4839-8175-193B64C75C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43E985A-F4AB-4ACB-8280-A7A2048020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2A0C77C-9676-4BDD-BC8E-CB72B5B7FB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F29C6A4-BFA4-4533-854D-0332C96CC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29657DF-DF64-44C1-8A84-7A2C97A7B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18.98260000000005</c:v>
                </c:pt>
                <c:pt idx="1">
                  <c:v>632.22529999999995</c:v>
                </c:pt>
                <c:pt idx="2">
                  <c:v>747.31100000000004</c:v>
                </c:pt>
                <c:pt idx="3">
                  <c:v>640.42579999999998</c:v>
                </c:pt>
                <c:pt idx="4">
                  <c:v>596.89359999999999</c:v>
                </c:pt>
                <c:pt idx="5">
                  <c:v>600.24639999999999</c:v>
                </c:pt>
                <c:pt idx="6">
                  <c:v>262.49939999999998</c:v>
                </c:pt>
                <c:pt idx="7">
                  <c:v>272.35610000000003</c:v>
                </c:pt>
              </c:numCache>
            </c:numRef>
          </c:xVal>
          <c:yVal>
            <c:numRef>
              <c:f>Sheet1!$B$2:$B$9</c:f>
              <c:numCache>
                <c:formatCode>General</c:formatCode>
                <c:ptCount val="8"/>
                <c:pt idx="0">
                  <c:v>0.96899999999999997</c:v>
                </c:pt>
                <c:pt idx="1">
                  <c:v>1.0069999999999999</c:v>
                </c:pt>
                <c:pt idx="2">
                  <c:v>1.323</c:v>
                </c:pt>
                <c:pt idx="3">
                  <c:v>1.002</c:v>
                </c:pt>
                <c:pt idx="4">
                  <c:v>0.93899999999999995</c:v>
                </c:pt>
                <c:pt idx="5">
                  <c:v>1.4910000000000001</c:v>
                </c:pt>
                <c:pt idx="6">
                  <c:v>0.51900000000000002</c:v>
                </c:pt>
                <c:pt idx="7">
                  <c:v>0.45600000000000002</c:v>
                </c:pt>
              </c:numCache>
            </c:numRef>
          </c:yVal>
          <c:bubbleSize>
            <c:numRef>
              <c:f>Sheet1!$C$2:$C$9</c:f>
              <c:numCache>
                <c:formatCode>General</c:formatCode>
                <c:ptCount val="8"/>
                <c:pt idx="0">
                  <c:v>137352856</c:v>
                </c:pt>
                <c:pt idx="1">
                  <c:v>70816815</c:v>
                </c:pt>
                <c:pt idx="2">
                  <c:v>56541549</c:v>
                </c:pt>
                <c:pt idx="3">
                  <c:v>23466483</c:v>
                </c:pt>
                <c:pt idx="4">
                  <c:v>21588447</c:v>
                </c:pt>
                <c:pt idx="5">
                  <c:v>17920958</c:v>
                </c:pt>
                <c:pt idx="6">
                  <c:v>16499925</c:v>
                </c:pt>
                <c:pt idx="7">
                  <c:v>714390</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Avene</c:v>
                  </c:pt>
                  <c:pt idx="3">
                    <c:v>Heliocare</c:v>
                  </c:pt>
                  <c:pt idx="4">
                    <c:v>Eucerin</c:v>
                  </c:pt>
                  <c:pt idx="5">
                    <c:v>Photoderm</c:v>
                  </c:pt>
                  <c:pt idx="6">
                    <c:v>Nivea</c:v>
                  </c:pt>
                  <c:pt idx="7">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7"/>
          <c:min val="2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F65DA83-995E-426A-828C-D7EFBFC68E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E5FF2C0-33D0-4988-9714-8538E46A77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24B5D96-10FB-4897-9D33-0632AC7079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F13C643-C620-49D8-B72B-512DDC278B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31C1D52-51E4-4343-A7C7-5379EEEA28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1F2B612-989C-4131-8DC1-3B2701AE2D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48661B8-7D16-4D1B-894C-BD8F02323E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C20BEA9-BA42-416C-B014-37627C50D4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74.19709999999998</c:v>
                </c:pt>
                <c:pt idx="1">
                  <c:v>632.08420000000001</c:v>
                </c:pt>
                <c:pt idx="2">
                  <c:v>632.31629999999996</c:v>
                </c:pt>
                <c:pt idx="3">
                  <c:v>582.01130000000001</c:v>
                </c:pt>
                <c:pt idx="4">
                  <c:v>663.69219999999996</c:v>
                </c:pt>
                <c:pt idx="5">
                  <c:v>752.56579999999997</c:v>
                </c:pt>
                <c:pt idx="6">
                  <c:v>511.63319999999999</c:v>
                </c:pt>
              </c:numCache>
            </c:numRef>
          </c:xVal>
          <c:yVal>
            <c:numRef>
              <c:f>Sheet1!$B$2:$B$8</c:f>
              <c:numCache>
                <c:formatCode>General</c:formatCode>
                <c:ptCount val="7"/>
                <c:pt idx="0">
                  <c:v>0.496</c:v>
                </c:pt>
                <c:pt idx="1">
                  <c:v>0.86399999999999999</c:v>
                </c:pt>
                <c:pt idx="2">
                  <c:v>4.2569999999999997</c:v>
                </c:pt>
                <c:pt idx="3">
                  <c:v>3.9220000000000002</c:v>
                </c:pt>
                <c:pt idx="4">
                  <c:v>4.1100000000000003</c:v>
                </c:pt>
                <c:pt idx="5">
                  <c:v>9.26</c:v>
                </c:pt>
                <c:pt idx="6">
                  <c:v>1.7290000000000001</c:v>
                </c:pt>
              </c:numCache>
            </c:numRef>
          </c:yVal>
          <c:bubbleSize>
            <c:numRef>
              <c:f>Sheet1!$C$2:$C$8</c:f>
              <c:numCache>
                <c:formatCode>General</c:formatCode>
                <c:ptCount val="7"/>
                <c:pt idx="0">
                  <c:v>121560916</c:v>
                </c:pt>
                <c:pt idx="1">
                  <c:v>106368391</c:v>
                </c:pt>
                <c:pt idx="2">
                  <c:v>81286153</c:v>
                </c:pt>
                <c:pt idx="3">
                  <c:v>57202400</c:v>
                </c:pt>
                <c:pt idx="4">
                  <c:v>22137452</c:v>
                </c:pt>
                <c:pt idx="5">
                  <c:v>12419594</c:v>
                </c:pt>
                <c:pt idx="6">
                  <c:v>5839270</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Eucerin</c:v>
                  </c:pt>
                  <c:pt idx="3">
                    <c:v>La Roche-Posay</c:v>
                  </c:pt>
                  <c:pt idx="4">
                    <c:v>Heliocare</c:v>
                  </c:pt>
                  <c:pt idx="5">
                    <c:v>Photoderm</c:v>
                  </c:pt>
                  <c:pt idx="6">
                    <c:v>Cetaph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03"/>
          <c:min val="2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1A8E64C-3A4C-45AB-9739-4C7292020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7BA8B61-931E-4E4C-A618-04E790C4CE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17124B4-DEB6-4B59-A622-6AD64663CE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FD565E6-C47E-4118-A162-C07B22946F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5B0F8F1-116A-493C-AA02-2920B6F97F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A35A2DF-52BE-45BB-8494-1FD6D065EB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F2C3130-A3E2-42F4-B517-CE6614755A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ACDA6AE-EB36-4AB6-99F4-6D579BB4AC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687.48429999999996</c:v>
                </c:pt>
                <c:pt idx="1">
                  <c:v>824.6857</c:v>
                </c:pt>
              </c:numCache>
            </c:numRef>
          </c:xVal>
          <c:yVal>
            <c:numRef>
              <c:f>Sheet1!$B$2:$B$3</c:f>
              <c:numCache>
                <c:formatCode>General</c:formatCode>
                <c:ptCount val="2"/>
                <c:pt idx="0">
                  <c:v>0.879</c:v>
                </c:pt>
                <c:pt idx="1">
                  <c:v>2.84</c:v>
                </c:pt>
              </c:numCache>
            </c:numRef>
          </c:yVal>
          <c:bubbleSize>
            <c:numRef>
              <c:f>Sheet1!$C$2:$C$3</c:f>
              <c:numCache>
                <c:formatCode>General</c:formatCode>
                <c:ptCount val="2"/>
                <c:pt idx="0">
                  <c:v>34448463</c:v>
                </c:pt>
                <c:pt idx="1">
                  <c:v>7277027</c:v>
                </c:pt>
              </c:numCache>
            </c:numRef>
          </c:bubbleSize>
          <c:bubble3D val="0"/>
          <c:extLst>
            <c:ext xmlns:c15="http://schemas.microsoft.com/office/drawing/2012/chart" uri="{02D57815-91ED-43cb-92C2-25804820EDAC}">
              <c15:datalabelsRange>
                <c15:f>Sheet1!$E$2:$E$10</c15:f>
                <c15:dlblRangeCache>
                  <c:ptCount val="9"/>
                  <c:pt idx="0">
                    <c:v>Eucerin</c:v>
                  </c:pt>
                  <c:pt idx="1">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90"/>
          <c:min val="5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31B3D04-E41E-4A37-BB67-3AA058AD42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DEB1DF8-1022-4C83-905D-046C6C10C6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A8C3F97-6677-44EE-829E-833C4BCD72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9BA03C3-85BD-4043-98B1-C84C35A365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AE015E0-CE60-4907-B5DA-5E42272129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235B349-C393-4BD9-BE25-65A983FD65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17C3063-8CD6-4231-B330-1D74EAEFBF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D0DA714-93F4-4DB4-96F4-E50FD0C046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9.16470000000001</c:v>
                </c:pt>
                <c:pt idx="1">
                  <c:v>209.1335</c:v>
                </c:pt>
                <c:pt idx="2">
                  <c:v>190.24889999999999</c:v>
                </c:pt>
                <c:pt idx="3">
                  <c:v>243.03049999999999</c:v>
                </c:pt>
                <c:pt idx="4">
                  <c:v>628.96190000000001</c:v>
                </c:pt>
                <c:pt idx="5">
                  <c:v>208.48599999999999</c:v>
                </c:pt>
                <c:pt idx="6">
                  <c:v>804.16989999999998</c:v>
                </c:pt>
                <c:pt idx="7">
                  <c:v>700.29290000000003</c:v>
                </c:pt>
              </c:numCache>
            </c:numRef>
          </c:xVal>
          <c:yVal>
            <c:numRef>
              <c:f>Sheet1!$B$2:$B$9</c:f>
              <c:numCache>
                <c:formatCode>General</c:formatCode>
                <c:ptCount val="8"/>
                <c:pt idx="0">
                  <c:v>0.89600000000000002</c:v>
                </c:pt>
                <c:pt idx="1">
                  <c:v>0.80800000000000005</c:v>
                </c:pt>
                <c:pt idx="2">
                  <c:v>0.83499999999999996</c:v>
                </c:pt>
                <c:pt idx="3">
                  <c:v>3.976</c:v>
                </c:pt>
                <c:pt idx="4">
                  <c:v>4.8499999999999996</c:v>
                </c:pt>
                <c:pt idx="5">
                  <c:v>2.6579999999999999</c:v>
                </c:pt>
                <c:pt idx="6">
                  <c:v>5.03</c:v>
                </c:pt>
                <c:pt idx="7">
                  <c:v>2.597</c:v>
                </c:pt>
              </c:numCache>
            </c:numRef>
          </c:yVal>
          <c:bubbleSize>
            <c:numRef>
              <c:f>Sheet1!$C$2:$C$9</c:f>
              <c:numCache>
                <c:formatCode>General</c:formatCode>
                <c:ptCount val="8"/>
                <c:pt idx="0">
                  <c:v>281719220</c:v>
                </c:pt>
                <c:pt idx="1">
                  <c:v>237967126</c:v>
                </c:pt>
                <c:pt idx="2">
                  <c:v>99365838</c:v>
                </c:pt>
                <c:pt idx="3">
                  <c:v>26487655</c:v>
                </c:pt>
                <c:pt idx="4">
                  <c:v>18058126</c:v>
                </c:pt>
                <c:pt idx="5">
                  <c:v>12989092</c:v>
                </c:pt>
                <c:pt idx="6">
                  <c:v>10496025</c:v>
                </c:pt>
                <c:pt idx="7">
                  <c:v>9653538</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Loreal Paris</c:v>
                  </c:pt>
                  <c:pt idx="4">
                    <c:v>Isdin</c:v>
                  </c:pt>
                  <c:pt idx="5">
                    <c:v>Beauty Care</c:v>
                  </c:pt>
                  <c:pt idx="6">
                    <c:v>La Roche-Posay</c:v>
                  </c:pt>
                  <c:pt idx="7">
                    <c:v>Eucer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65"/>
          <c:min val="15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1D0E804-AD46-495B-A970-665537E17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6882092-EB4E-4F47-BCAF-54F8CB99E4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0EA0CCE-1CBE-4233-A1CD-80DD8C88A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7AEF9BD-B9A6-4650-9A81-7C990E975C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34FDB33-3AF9-451E-9F47-E6CCBDB234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F6EEAE8-C583-467C-A695-6E0A7331E1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8F61940-1CE5-405C-A614-2AEA252F89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B0332E0-9904-4AFE-9B5C-9319C778B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6.6892</c:v>
                </c:pt>
                <c:pt idx="1">
                  <c:v>451.89089999999999</c:v>
                </c:pt>
                <c:pt idx="2">
                  <c:v>209.54249999999999</c:v>
                </c:pt>
                <c:pt idx="3">
                  <c:v>80.124899999999997</c:v>
                </c:pt>
                <c:pt idx="4">
                  <c:v>96.877300000000005</c:v>
                </c:pt>
                <c:pt idx="5">
                  <c:v>173.3228</c:v>
                </c:pt>
                <c:pt idx="6">
                  <c:v>291.05380000000002</c:v>
                </c:pt>
                <c:pt idx="7">
                  <c:v>205.88</c:v>
                </c:pt>
              </c:numCache>
            </c:numRef>
          </c:xVal>
          <c:yVal>
            <c:numRef>
              <c:f>Sheet1!$B$2:$B$9</c:f>
              <c:numCache>
                <c:formatCode>General</c:formatCode>
                <c:ptCount val="8"/>
                <c:pt idx="0">
                  <c:v>1.3069999999999999</c:v>
                </c:pt>
                <c:pt idx="1">
                  <c:v>3.5779999999999998</c:v>
                </c:pt>
                <c:pt idx="2">
                  <c:v>0.88200000000000001</c:v>
                </c:pt>
                <c:pt idx="3">
                  <c:v>0.48299999999999998</c:v>
                </c:pt>
                <c:pt idx="4">
                  <c:v>0.60299999999999998</c:v>
                </c:pt>
                <c:pt idx="5">
                  <c:v>0.80300000000000005</c:v>
                </c:pt>
                <c:pt idx="6">
                  <c:v>1.7410000000000001</c:v>
                </c:pt>
                <c:pt idx="7">
                  <c:v>1.2829999999999999</c:v>
                </c:pt>
              </c:numCache>
            </c:numRef>
          </c:yVal>
          <c:bubbleSize>
            <c:numRef>
              <c:f>Sheet1!$C$2:$C$9</c:f>
              <c:numCache>
                <c:formatCode>General</c:formatCode>
                <c:ptCount val="8"/>
                <c:pt idx="0">
                  <c:v>8663450</c:v>
                </c:pt>
                <c:pt idx="1">
                  <c:v>2920119</c:v>
                </c:pt>
                <c:pt idx="2">
                  <c:v>2109674</c:v>
                </c:pt>
                <c:pt idx="3">
                  <c:v>1209966</c:v>
                </c:pt>
                <c:pt idx="4">
                  <c:v>1076307</c:v>
                </c:pt>
                <c:pt idx="5">
                  <c:v>983087</c:v>
                </c:pt>
                <c:pt idx="6">
                  <c:v>400490</c:v>
                </c:pt>
                <c:pt idx="7">
                  <c:v>5147</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Banana Boat</c:v>
                  </c:pt>
                  <c:pt idx="3">
                    <c:v>Caribbean Beach</c:v>
                  </c:pt>
                  <c:pt idx="4">
                    <c:v>Nuvel</c:v>
                  </c:pt>
                  <c:pt idx="5">
                    <c:v>Hawaiian Tropic</c:v>
                  </c:pt>
                  <c:pt idx="6">
                    <c:v>Eclipsol</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2"/>
          <c:min val="6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06C9588-E2F2-4C8C-B115-AB02B2A733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8B04C72-F573-4734-8DFB-DF9504739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E575E3C-0687-4421-90E0-A2E89869B2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D344DFD-02BA-403A-95B6-CAAD0E073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0905583-2C17-47B2-B20E-5706856DA1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415E2DC-FEDE-4D16-AA51-4E1C42C831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63793C7-B38B-49DD-BC00-B0A9B86397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2E8DED0-9F0B-4DE8-8151-3C6B6837BB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33.92490000000001</c:v>
                </c:pt>
                <c:pt idx="1">
                  <c:v>636.27970000000005</c:v>
                </c:pt>
                <c:pt idx="2">
                  <c:v>654.95699999999999</c:v>
                </c:pt>
                <c:pt idx="3">
                  <c:v>300.2527</c:v>
                </c:pt>
                <c:pt idx="4">
                  <c:v>417.04509999999999</c:v>
                </c:pt>
              </c:numCache>
            </c:numRef>
          </c:xVal>
          <c:yVal>
            <c:numRef>
              <c:f>Sheet1!$B$2:$B$6</c:f>
              <c:numCache>
                <c:formatCode>General</c:formatCode>
                <c:ptCount val="5"/>
                <c:pt idx="0">
                  <c:v>0.89700000000000002</c:v>
                </c:pt>
                <c:pt idx="1">
                  <c:v>1.6910000000000001</c:v>
                </c:pt>
                <c:pt idx="2">
                  <c:v>2.883</c:v>
                </c:pt>
                <c:pt idx="3">
                  <c:v>3.0939999999999999</c:v>
                </c:pt>
                <c:pt idx="4">
                  <c:v>5.335</c:v>
                </c:pt>
              </c:numCache>
            </c:numRef>
          </c:yVal>
          <c:bubbleSize>
            <c:numRef>
              <c:f>Sheet1!$C$2:$C$6</c:f>
              <c:numCache>
                <c:formatCode>General</c:formatCode>
                <c:ptCount val="5"/>
                <c:pt idx="0">
                  <c:v>92691787</c:v>
                </c:pt>
                <c:pt idx="1">
                  <c:v>6581041</c:v>
                </c:pt>
                <c:pt idx="2">
                  <c:v>4375768</c:v>
                </c:pt>
                <c:pt idx="3">
                  <c:v>4101452</c:v>
                </c:pt>
                <c:pt idx="4">
                  <c:v>2959352</c:v>
                </c:pt>
              </c:numCache>
            </c:numRef>
          </c:bubbleSize>
          <c:bubble3D val="0"/>
          <c:extLst>
            <c:ext xmlns:c15="http://schemas.microsoft.com/office/drawing/2012/chart" uri="{02D57815-91ED-43cb-92C2-25804820EDAC}">
              <c15:datalabelsRange>
                <c15:f>Sheet1!$E$2:$E$10</c15:f>
                <c15:dlblRangeCache>
                  <c:ptCount val="9"/>
                  <c:pt idx="0">
                    <c:v>Banana Boat</c:v>
                  </c:pt>
                  <c:pt idx="1">
                    <c:v>Isdin</c:v>
                  </c:pt>
                  <c:pt idx="2">
                    <c:v>La Roche-Posay</c:v>
                  </c:pt>
                  <c:pt idx="3">
                    <c:v>Eclipsol</c:v>
                  </c:pt>
                  <c:pt idx="4">
                    <c:v>Muste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6"/>
          <c:min val="18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117B300-6657-42D7-BFEE-9A3FA44AA3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C48C62F8-ED50-4921-97A2-3324738176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B2551AF-A8BD-4338-947F-F776E7D538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502FF5B-B5DE-4669-B2A5-9472AF3E67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4077EA2-49CE-42A2-BE13-A120D55C27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DCA8699-986A-40B3-95B4-7C9445A0FB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5596F86-909E-4E0F-8E21-8E87E59825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762AE66-5B32-475C-8B89-52CA3F3EBE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7.71950000000001</c:v>
                </c:pt>
              </c:numCache>
            </c:numRef>
          </c:xVal>
          <c:yVal>
            <c:numRef>
              <c:f>Sheet1!$B$2:$B$2</c:f>
              <c:numCache>
                <c:formatCode>General</c:formatCode>
                <c:ptCount val="1"/>
                <c:pt idx="0">
                  <c:v>1</c:v>
                </c:pt>
              </c:numCache>
            </c:numRef>
          </c:yVal>
          <c:bubbleSize>
            <c:numRef>
              <c:f>Sheet1!$C$2:$C$2</c:f>
              <c:numCache>
                <c:formatCode>General</c:formatCode>
                <c:ptCount val="1"/>
                <c:pt idx="0">
                  <c:v>3235646</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9"/>
          <c:min val="16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09A1D15-1989-4C5C-8AA3-70B2DF4B0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975FF3BA-2513-4D36-9207-D6D2518C67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2079695-E316-447B-95B3-68041CF2E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D5DC569-8B19-43E9-9425-DBD945A8AE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1B07D32-5A65-4456-A9BD-1910D2AD48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F05C95E-E56F-48B0-A1BD-019B00507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309A910-C8D1-4F6D-BA76-65250666E1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1C5075F-5229-496B-91A7-0D26646529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4.5033</c:v>
                </c:pt>
              </c:numCache>
            </c:numRef>
          </c:xVal>
          <c:yVal>
            <c:numRef>
              <c:f>Sheet1!$B$2:$B$2</c:f>
              <c:numCache>
                <c:formatCode>General</c:formatCode>
                <c:ptCount val="1"/>
                <c:pt idx="0">
                  <c:v>0.92800000000000005</c:v>
                </c:pt>
              </c:numCache>
            </c:numRef>
          </c:yVal>
          <c:bubbleSize>
            <c:numRef>
              <c:f>Sheet1!$C$2:$C$2</c:f>
              <c:numCache>
                <c:formatCode>General</c:formatCode>
                <c:ptCount val="1"/>
                <c:pt idx="0">
                  <c:v>13053599</c:v>
                </c:pt>
              </c:numCache>
            </c:numRef>
          </c:bubbleSize>
          <c:bubble3D val="0"/>
          <c:extLst>
            <c:ext xmlns:c15="http://schemas.microsoft.com/office/drawing/2012/chart" uri="{02D57815-91ED-43cb-92C2-25804820EDAC}">
              <c15:datalabelsRange>
                <c15:f>Sheet1!$E$2:$E$10</c15:f>
                <c15:dlblRangeCache>
                  <c:ptCount val="9"/>
                  <c:pt idx="0">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7"/>
          <c:min val="17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8150A7B-790A-4F2D-B137-E7BC20792C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862FBCA-CD1D-4268-9B52-41240F1483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D380BEA-6FAA-4812-9881-C33687B758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A5E15CA-540B-4774-9F88-514CCEEEF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32D004D-624B-425D-B546-DC1A708E59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47146B5-FC84-4B6F-B31C-841AF9B04E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E10D0BB-BC18-426A-908A-A2AD41C512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ED4B3C8-6AD7-4E62-ABCA-E2F2F25744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738.86839999999995</c:v>
                </c:pt>
                <c:pt idx="1">
                  <c:v>1043.2023999999999</c:v>
                </c:pt>
                <c:pt idx="2">
                  <c:v>252.8441</c:v>
                </c:pt>
                <c:pt idx="3">
                  <c:v>360.13420000000002</c:v>
                </c:pt>
                <c:pt idx="4">
                  <c:v>636.08339999999998</c:v>
                </c:pt>
                <c:pt idx="5">
                  <c:v>321.74520000000001</c:v>
                </c:pt>
              </c:numCache>
            </c:numRef>
          </c:xVal>
          <c:yVal>
            <c:numRef>
              <c:f>Sheet1!$B$2:$B$7</c:f>
              <c:numCache>
                <c:formatCode>General</c:formatCode>
                <c:ptCount val="6"/>
                <c:pt idx="0">
                  <c:v>1.224</c:v>
                </c:pt>
                <c:pt idx="1">
                  <c:v>2.4550000000000001</c:v>
                </c:pt>
                <c:pt idx="2">
                  <c:v>0.27400000000000002</c:v>
                </c:pt>
                <c:pt idx="3">
                  <c:v>0.98799999999999999</c:v>
                </c:pt>
                <c:pt idx="4">
                  <c:v>2.3290000000000002</c:v>
                </c:pt>
                <c:pt idx="5">
                  <c:v>1.0740000000000001</c:v>
                </c:pt>
              </c:numCache>
            </c:numRef>
          </c:yVal>
          <c:bubbleSize>
            <c:numRef>
              <c:f>Sheet1!$C$2:$C$7</c:f>
              <c:numCache>
                <c:formatCode>General</c:formatCode>
                <c:ptCount val="6"/>
                <c:pt idx="0">
                  <c:v>23557341</c:v>
                </c:pt>
                <c:pt idx="1">
                  <c:v>4051798</c:v>
                </c:pt>
                <c:pt idx="2">
                  <c:v>3012132</c:v>
                </c:pt>
                <c:pt idx="3">
                  <c:v>2739181</c:v>
                </c:pt>
                <c:pt idx="4">
                  <c:v>2243466</c:v>
                </c:pt>
                <c:pt idx="5">
                  <c:v>1190779</c:v>
                </c:pt>
              </c:numCache>
            </c:numRef>
          </c:bubbleSize>
          <c:bubble3D val="0"/>
          <c:extLst>
            <c:ext xmlns:c15="http://schemas.microsoft.com/office/drawing/2012/chart" uri="{02D57815-91ED-43cb-92C2-25804820EDAC}">
              <c15:datalabelsRange>
                <c15:f>Sheet1!$E$2:$E$10</c15:f>
                <c15:dlblRangeCache>
                  <c:ptCount val="9"/>
                  <c:pt idx="0">
                    <c:v>Photoderm</c:v>
                  </c:pt>
                  <c:pt idx="1">
                    <c:v>La Roche-Posay</c:v>
                  </c:pt>
                  <c:pt idx="2">
                    <c:v>Banana Boat</c:v>
                  </c:pt>
                  <c:pt idx="3">
                    <c:v>Australian Gold</c:v>
                  </c:pt>
                  <c:pt idx="4">
                    <c:v>Genove</c:v>
                  </c:pt>
                  <c:pt idx="5">
                    <c:v>Ocean Po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52"/>
          <c:min val="20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B8F073E-4011-4F50-9789-CD2181596C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AF58881-48C5-4CBC-909B-31C9EDC18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081514D-8D13-485A-AFD5-6429C0EE8E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272D37B-3113-4A48-8349-BC910EA0E5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499EA45-E409-4C94-B4D8-95EEC916A2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6D4E930-55EE-41EA-AB80-2A4DCA6726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827ED3C-3431-4E54-AE49-0733E7F74E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BF7B3F9-81F4-4F70-86A4-3D01901AD0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480.52710000000002</c:v>
                </c:pt>
                <c:pt idx="1">
                  <c:v>555.99919999999997</c:v>
                </c:pt>
                <c:pt idx="2">
                  <c:v>351.44110000000001</c:v>
                </c:pt>
              </c:numCache>
            </c:numRef>
          </c:xVal>
          <c:yVal>
            <c:numRef>
              <c:f>Sheet1!$B$2:$B$4</c:f>
              <c:numCache>
                <c:formatCode>General</c:formatCode>
                <c:ptCount val="3"/>
                <c:pt idx="0">
                  <c:v>1.476</c:v>
                </c:pt>
                <c:pt idx="1">
                  <c:v>0.68400000000000005</c:v>
                </c:pt>
                <c:pt idx="2">
                  <c:v>0.26</c:v>
                </c:pt>
              </c:numCache>
            </c:numRef>
          </c:yVal>
          <c:bubbleSize>
            <c:numRef>
              <c:f>Sheet1!$C$2:$C$4</c:f>
              <c:numCache>
                <c:formatCode>General</c:formatCode>
                <c:ptCount val="3"/>
                <c:pt idx="0">
                  <c:v>35235613</c:v>
                </c:pt>
                <c:pt idx="1">
                  <c:v>12520547</c:v>
                </c:pt>
                <c:pt idx="2">
                  <c:v>2155740</c:v>
                </c:pt>
              </c:numCache>
            </c:numRef>
          </c:bubbleSize>
          <c:bubble3D val="0"/>
          <c:extLst>
            <c:ext xmlns:c15="http://schemas.microsoft.com/office/drawing/2012/chart" uri="{02D57815-91ED-43cb-92C2-25804820EDAC}">
              <c15:datalabelsRange>
                <c15:f>Sheet1!$E$2:$E$10</c15:f>
                <c15:dlblRangeCache>
                  <c:ptCount val="9"/>
                  <c:pt idx="0">
                    <c:v>Isdin</c:v>
                  </c:pt>
                  <c:pt idx="1">
                    <c:v>Heliocare</c:v>
                  </c:pt>
                  <c:pt idx="2">
                    <c:v>Neutrogen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7"/>
          <c:min val="28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9D0881A-5C0F-4D69-BDC2-161472A7FD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A913BD4-22AA-4DEF-A09A-A4FAD9E277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4FCC274-443A-4AAE-907F-7FA71CECB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2E0A7A2-D83C-44A7-8018-A45E995806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66D6F0A-3BB5-4DF8-B2EC-5AB022C818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B4874DF-C734-4AAB-9176-06FBC19AA2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B5F04C1-E8A1-4011-9EA9-3CBFA02729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02FE4CD-A9B9-44F6-8253-A7DE6BE94C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574.96820000000002</c:v>
                </c:pt>
                <c:pt idx="1">
                  <c:v>652.13699999999994</c:v>
                </c:pt>
                <c:pt idx="2">
                  <c:v>698.27750000000003</c:v>
                </c:pt>
                <c:pt idx="3">
                  <c:v>760.58529999999996</c:v>
                </c:pt>
                <c:pt idx="4">
                  <c:v>776.75390000000004</c:v>
                </c:pt>
                <c:pt idx="5">
                  <c:v>395.63639999999998</c:v>
                </c:pt>
              </c:numCache>
            </c:numRef>
          </c:xVal>
          <c:yVal>
            <c:numRef>
              <c:f>Sheet1!$B$2:$B$7</c:f>
              <c:numCache>
                <c:formatCode>General</c:formatCode>
                <c:ptCount val="6"/>
                <c:pt idx="0">
                  <c:v>1.5189999999999999</c:v>
                </c:pt>
                <c:pt idx="1">
                  <c:v>0.73799999999999999</c:v>
                </c:pt>
                <c:pt idx="2">
                  <c:v>0.79</c:v>
                </c:pt>
                <c:pt idx="3">
                  <c:v>4.2210000000000001</c:v>
                </c:pt>
                <c:pt idx="4">
                  <c:v>0.95699999999999996</c:v>
                </c:pt>
                <c:pt idx="5">
                  <c:v>0.98799999999999999</c:v>
                </c:pt>
              </c:numCache>
            </c:numRef>
          </c:yVal>
          <c:bubbleSize>
            <c:numRef>
              <c:f>Sheet1!$C$2:$C$7</c:f>
              <c:numCache>
                <c:formatCode>General</c:formatCode>
                <c:ptCount val="6"/>
                <c:pt idx="0">
                  <c:v>22969979</c:v>
                </c:pt>
                <c:pt idx="1">
                  <c:v>21728553</c:v>
                </c:pt>
                <c:pt idx="2">
                  <c:v>3737181</c:v>
                </c:pt>
                <c:pt idx="3">
                  <c:v>2341842</c:v>
                </c:pt>
                <c:pt idx="4">
                  <c:v>602761</c:v>
                </c:pt>
                <c:pt idx="5">
                  <c:v>21760</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Heliocare</c:v>
                  </c:pt>
                  <c:pt idx="3">
                    <c:v>Vichy</c:v>
                  </c:pt>
                  <c:pt idx="4">
                    <c:v>Avene</c:v>
                  </c:pt>
                  <c:pt idx="5">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32"/>
          <c:min val="31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95D42A-2BE4-4C24-98F7-2A426F0550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115D4D6-A91D-4F5B-937C-6087C3FA6A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75D3AD9-71CE-4558-BB53-FB9F754C82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C703534-35BA-4C1E-B1A7-7C177852B4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92F35BE-CC9F-4F6B-B1CC-AFF4F29AC0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457BF29-3BBD-4D47-92A0-FBB3517A33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868D8E8-393B-4C2A-B374-42DFF70904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28C41C5-5723-44A9-8127-C5E1CD56F9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26.56700000000001</c:v>
                </c:pt>
                <c:pt idx="1">
                  <c:v>681.67589999999996</c:v>
                </c:pt>
                <c:pt idx="2">
                  <c:v>684.12149999999997</c:v>
                </c:pt>
                <c:pt idx="3">
                  <c:v>728.54459999999995</c:v>
                </c:pt>
                <c:pt idx="4">
                  <c:v>308.18990000000002</c:v>
                </c:pt>
                <c:pt idx="5">
                  <c:v>322.411</c:v>
                </c:pt>
                <c:pt idx="6">
                  <c:v>274.72609999999997</c:v>
                </c:pt>
                <c:pt idx="7">
                  <c:v>287.97719999999998</c:v>
                </c:pt>
              </c:numCache>
            </c:numRef>
          </c:xVal>
          <c:yVal>
            <c:numRef>
              <c:f>Sheet1!$B$2:$B$9</c:f>
              <c:numCache>
                <c:formatCode>General</c:formatCode>
                <c:ptCount val="8"/>
                <c:pt idx="0">
                  <c:v>2.653</c:v>
                </c:pt>
                <c:pt idx="1">
                  <c:v>1.5669999999999999</c:v>
                </c:pt>
                <c:pt idx="2">
                  <c:v>2.64</c:v>
                </c:pt>
                <c:pt idx="3">
                  <c:v>1.7809999999999999</c:v>
                </c:pt>
                <c:pt idx="4">
                  <c:v>0.72099999999999997</c:v>
                </c:pt>
                <c:pt idx="5">
                  <c:v>0.76</c:v>
                </c:pt>
                <c:pt idx="6">
                  <c:v>0.251</c:v>
                </c:pt>
                <c:pt idx="7">
                  <c:v>0.26900000000000002</c:v>
                </c:pt>
              </c:numCache>
            </c:numRef>
          </c:yVal>
          <c:bubbleSize>
            <c:numRef>
              <c:f>Sheet1!$C$2:$C$9</c:f>
              <c:numCache>
                <c:formatCode>General</c:formatCode>
                <c:ptCount val="8"/>
                <c:pt idx="0">
                  <c:v>236836703</c:v>
                </c:pt>
                <c:pt idx="1">
                  <c:v>115896495</c:v>
                </c:pt>
                <c:pt idx="2">
                  <c:v>79984060</c:v>
                </c:pt>
                <c:pt idx="3">
                  <c:v>77229369</c:v>
                </c:pt>
                <c:pt idx="4">
                  <c:v>76293336</c:v>
                </c:pt>
                <c:pt idx="5">
                  <c:v>58967363</c:v>
                </c:pt>
                <c:pt idx="6">
                  <c:v>27395964</c:v>
                </c:pt>
                <c:pt idx="7">
                  <c:v>23576115</c:v>
                </c:pt>
              </c:numCache>
            </c:numRef>
          </c:bubbleSize>
          <c:bubble3D val="0"/>
          <c:extLst>
            <c:ext xmlns:c15="http://schemas.microsoft.com/office/drawing/2012/chart" uri="{02D57815-91ED-43cb-92C2-25804820EDAC}">
              <c15:datalabelsRange>
                <c15:f>Sheet1!$E$2:$E$10</c15:f>
                <c15:dlblRangeCache>
                  <c:ptCount val="9"/>
                  <c:pt idx="0">
                    <c:v>Isdin</c:v>
                  </c:pt>
                  <c:pt idx="1">
                    <c:v>Avene</c:v>
                  </c:pt>
                  <c:pt idx="2">
                    <c:v>La Roche-Posay</c:v>
                  </c:pt>
                  <c:pt idx="3">
                    <c:v>Eucerin</c:v>
                  </c:pt>
                  <c:pt idx="4">
                    <c:v>Nivea</c:v>
                  </c:pt>
                  <c:pt idx="5">
                    <c:v>Neutrogena</c:v>
                  </c:pt>
                  <c:pt idx="6">
                    <c:v>Hawaiian Tropic</c:v>
                  </c:pt>
                  <c:pt idx="7">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74"/>
          <c:min val="2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BA497C-B265-463B-91EA-00AB71E6C3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916FB3-C044-4BCD-9D48-857AE1A51F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558D91-40E8-495D-8801-18434D04A4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B88F880-36EA-4E70-B283-911F2735AE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845A59D-1255-42B7-A93B-13938FD980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029FC4-44B6-4DE2-989E-46452A8D75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50BD701-0CC9-44F2-8AC2-328D3AF68E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CB51074-5D90-49EF-B85E-F040650EC3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29.39239999999995</c:v>
                </c:pt>
                <c:pt idx="1">
                  <c:v>646.77200000000005</c:v>
                </c:pt>
                <c:pt idx="2">
                  <c:v>772.65</c:v>
                </c:pt>
                <c:pt idx="3">
                  <c:v>639.43899999999996</c:v>
                </c:pt>
                <c:pt idx="4">
                  <c:v>619.71360000000004</c:v>
                </c:pt>
                <c:pt idx="5">
                  <c:v>658.16420000000005</c:v>
                </c:pt>
                <c:pt idx="6">
                  <c:v>313.48149999999998</c:v>
                </c:pt>
                <c:pt idx="7">
                  <c:v>342.19639999999998</c:v>
                </c:pt>
              </c:numCache>
            </c:numRef>
          </c:xVal>
          <c:yVal>
            <c:numRef>
              <c:f>Sheet1!$B$2:$B$9</c:f>
              <c:numCache>
                <c:formatCode>General</c:formatCode>
                <c:ptCount val="8"/>
                <c:pt idx="0">
                  <c:v>0.92800000000000005</c:v>
                </c:pt>
                <c:pt idx="1">
                  <c:v>0.97399999999999998</c:v>
                </c:pt>
                <c:pt idx="2">
                  <c:v>1.2689999999999999</c:v>
                </c:pt>
                <c:pt idx="3">
                  <c:v>0.93799999999999994</c:v>
                </c:pt>
                <c:pt idx="4">
                  <c:v>0.92200000000000004</c:v>
                </c:pt>
                <c:pt idx="5">
                  <c:v>1.468</c:v>
                </c:pt>
                <c:pt idx="6">
                  <c:v>0.59599999999999997</c:v>
                </c:pt>
                <c:pt idx="7">
                  <c:v>0</c:v>
                </c:pt>
              </c:numCache>
            </c:numRef>
          </c:yVal>
          <c:bubbleSize>
            <c:numRef>
              <c:f>Sheet1!$C$2:$C$9</c:f>
              <c:numCache>
                <c:formatCode>General</c:formatCode>
                <c:ptCount val="8"/>
                <c:pt idx="0">
                  <c:v>120217088</c:v>
                </c:pt>
                <c:pt idx="1">
                  <c:v>55895332</c:v>
                </c:pt>
                <c:pt idx="2">
                  <c:v>51773732</c:v>
                </c:pt>
                <c:pt idx="3">
                  <c:v>23370856</c:v>
                </c:pt>
                <c:pt idx="4">
                  <c:v>16949787</c:v>
                </c:pt>
                <c:pt idx="5">
                  <c:v>15586645</c:v>
                </c:pt>
                <c:pt idx="6">
                  <c:v>5359907</c:v>
                </c:pt>
                <c:pt idx="7">
                  <c:v>38326</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Avene</c:v>
                  </c:pt>
                  <c:pt idx="3">
                    <c:v>Heliocare</c:v>
                  </c:pt>
                  <c:pt idx="4">
                    <c:v>Eucerin</c:v>
                  </c:pt>
                  <c:pt idx="5">
                    <c:v>Photoderm</c:v>
                  </c:pt>
                  <c:pt idx="6">
                    <c:v>Nivea</c:v>
                  </c:pt>
                  <c:pt idx="7">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27"/>
          <c:min val="25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C45838-C02D-4348-840A-E1A341F7A5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05DC748-7EFB-4D70-A4ED-C71DA63FEE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3870989-15D0-4DD1-91CC-574439E904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C764B71-4790-4C04-8D08-BF21432B2E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482F969-3E65-4291-8A18-9D688DC1E6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2E542AD-9716-4A2B-B66F-EEF5739132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7CE5850-161F-435A-B7CF-2110FED757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3C1B5EC-81F0-4D7B-8075-CFB7756121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640.50599999999997</c:v>
                </c:pt>
                <c:pt idx="1">
                  <c:v>648.19640000000004</c:v>
                </c:pt>
                <c:pt idx="2">
                  <c:v>586.74339999999995</c:v>
                </c:pt>
                <c:pt idx="3">
                  <c:v>337.60390000000001</c:v>
                </c:pt>
                <c:pt idx="4">
                  <c:v>661.21299999999997</c:v>
                </c:pt>
                <c:pt idx="5">
                  <c:v>786.29650000000004</c:v>
                </c:pt>
                <c:pt idx="6">
                  <c:v>523.94230000000005</c:v>
                </c:pt>
              </c:numCache>
            </c:numRef>
          </c:xVal>
          <c:yVal>
            <c:numRef>
              <c:f>Sheet1!$B$2:$B$8</c:f>
              <c:numCache>
                <c:formatCode>General</c:formatCode>
                <c:ptCount val="7"/>
                <c:pt idx="0">
                  <c:v>0.58799999999999997</c:v>
                </c:pt>
                <c:pt idx="1">
                  <c:v>2.94</c:v>
                </c:pt>
                <c:pt idx="2">
                  <c:v>2.6509999999999998</c:v>
                </c:pt>
                <c:pt idx="3">
                  <c:v>0.41199999999999998</c:v>
                </c:pt>
                <c:pt idx="4">
                  <c:v>2.6960000000000002</c:v>
                </c:pt>
                <c:pt idx="5">
                  <c:v>6.0030000000000001</c:v>
                </c:pt>
                <c:pt idx="6">
                  <c:v>1.18</c:v>
                </c:pt>
              </c:numCache>
            </c:numRef>
          </c:yVal>
          <c:bubbleSize>
            <c:numRef>
              <c:f>Sheet1!$C$2:$C$8</c:f>
              <c:numCache>
                <c:formatCode>General</c:formatCode>
                <c:ptCount val="7"/>
                <c:pt idx="0">
                  <c:v>88726737</c:v>
                </c:pt>
                <c:pt idx="1">
                  <c:v>69410170</c:v>
                </c:pt>
                <c:pt idx="2">
                  <c:v>51697378</c:v>
                </c:pt>
                <c:pt idx="3">
                  <c:v>30352613</c:v>
                </c:pt>
                <c:pt idx="4">
                  <c:v>21966819</c:v>
                </c:pt>
                <c:pt idx="5">
                  <c:v>10846174</c:v>
                </c:pt>
                <c:pt idx="6">
                  <c:v>4515335</c:v>
                </c:pt>
              </c:numCache>
            </c:numRef>
          </c:bubbleSize>
          <c:bubble3D val="0"/>
          <c:extLst>
            <c:ext xmlns:c15="http://schemas.microsoft.com/office/drawing/2012/chart" uri="{02D57815-91ED-43cb-92C2-25804820EDAC}">
              <c15:datalabelsRange>
                <c15:f>Sheet1!$E$2:$E$10</c15:f>
                <c15:dlblRangeCache>
                  <c:ptCount val="9"/>
                  <c:pt idx="0">
                    <c:v>Isdin</c:v>
                  </c:pt>
                  <c:pt idx="1">
                    <c:v>Eucerin</c:v>
                  </c:pt>
                  <c:pt idx="2">
                    <c:v>La Roche-Posay</c:v>
                  </c:pt>
                  <c:pt idx="3">
                    <c:v>Nivea</c:v>
                  </c:pt>
                  <c:pt idx="4">
                    <c:v>Heliocare</c:v>
                  </c:pt>
                  <c:pt idx="5">
                    <c:v>Photoderm</c:v>
                  </c:pt>
                  <c:pt idx="6">
                    <c:v>Cetaph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44"/>
          <c:min val="2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9EACC6A-EFEA-46CB-8A03-F90153CF4F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EE3FB13-7CD7-4E1D-99F2-D463736ED0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67DD91B3-565D-4CAD-AC4D-5A1CDFD86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BD76A0A-1C52-4019-B89C-62CBB0E6DB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7A37E18-1D6C-4565-8CEB-B557F79A88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DB72FD5-1763-4C4B-A622-F03641D6F5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DED1442-2C33-4653-98C1-95F807F8A5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0326AD3-7847-4C61-A060-5AC7F4E7C8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693.9</c:v>
                </c:pt>
                <c:pt idx="1">
                  <c:v>831.80759999999998</c:v>
                </c:pt>
              </c:numCache>
            </c:numRef>
          </c:xVal>
          <c:yVal>
            <c:numRef>
              <c:f>Sheet1!$B$2:$B$3</c:f>
              <c:numCache>
                <c:formatCode>General</c:formatCode>
                <c:ptCount val="2"/>
                <c:pt idx="0">
                  <c:v>0.88400000000000001</c:v>
                </c:pt>
                <c:pt idx="1">
                  <c:v>2.4860000000000002</c:v>
                </c:pt>
              </c:numCache>
            </c:numRef>
          </c:yVal>
          <c:bubbleSize>
            <c:numRef>
              <c:f>Sheet1!$C$2:$C$3</c:f>
              <c:numCache>
                <c:formatCode>General</c:formatCode>
                <c:ptCount val="2"/>
                <c:pt idx="0">
                  <c:v>31886093</c:v>
                </c:pt>
                <c:pt idx="1">
                  <c:v>6997997</c:v>
                </c:pt>
              </c:numCache>
            </c:numRef>
          </c:bubbleSize>
          <c:bubble3D val="0"/>
          <c:extLst>
            <c:ext xmlns:c15="http://schemas.microsoft.com/office/drawing/2012/chart" uri="{02D57815-91ED-43cb-92C2-25804820EDAC}">
              <c15:datalabelsRange>
                <c15:f>Sheet1!$E$2:$E$10</c15:f>
                <c15:dlblRangeCache>
                  <c:ptCount val="9"/>
                  <c:pt idx="0">
                    <c:v>Eucerin</c:v>
                  </c:pt>
                  <c:pt idx="1">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98"/>
          <c:min val="55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7/01/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1/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37.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38.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39.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140.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41.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42.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43.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44.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45.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46.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oleObject" Target="../embeddings/oleObject27.bin"/><Relationship Id="rId7" Type="http://schemas.openxmlformats.org/officeDocument/2006/relationships/chart" Target="../charts/chart1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47.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48.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49.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50.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151.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152.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153.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154.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chart" Target="../charts/chart155.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chart" Target="../charts/chart156.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8" Type="http://schemas.openxmlformats.org/officeDocument/2006/relationships/chart" Target="../charts/chart18.xml"/><Relationship Id="rId3" Type="http://schemas.openxmlformats.org/officeDocument/2006/relationships/oleObject" Target="../embeddings/oleObject27.bin"/><Relationship Id="rId7" Type="http://schemas.openxmlformats.org/officeDocument/2006/relationships/chart" Target="../charts/chart17.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chart" Target="../charts/chart157.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chart" Target="../charts/chart158.xml"/><Relationship Id="rId4" Type="http://schemas.openxmlformats.org/officeDocument/2006/relationships/image" Target="../media/image2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chart" Target="../charts/chart159.xml"/><Relationship Id="rId4" Type="http://schemas.openxmlformats.org/officeDocument/2006/relationships/image" Target="../media/image2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chart" Target="../charts/chart160.xml"/><Relationship Id="rId4" Type="http://schemas.openxmlformats.org/officeDocument/2006/relationships/image" Target="../media/image2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chart" Target="../charts/chart161.xml"/><Relationship Id="rId4" Type="http://schemas.openxmlformats.org/officeDocument/2006/relationships/image" Target="../media/image2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chart" Target="../charts/chart162.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chart" Target="../charts/chart163.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chart" Target="../charts/chart164.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chart" Target="../charts/chart165.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chart" Target="../charts/chart166.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8" Type="http://schemas.openxmlformats.org/officeDocument/2006/relationships/chart" Target="../charts/chart22.xml"/><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chart" Target="../charts/chart167.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168.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169.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170.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171.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172.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173.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174.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175.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176.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8" Type="http://schemas.openxmlformats.org/officeDocument/2006/relationships/chart" Target="../charts/chart26.xml"/><Relationship Id="rId3" Type="http://schemas.openxmlformats.org/officeDocument/2006/relationships/oleObject" Target="../embeddings/oleObject27.bin"/><Relationship Id="rId7" Type="http://schemas.openxmlformats.org/officeDocument/2006/relationships/chart" Target="../charts/chart25.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177.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178.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179.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180.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181.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182.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183.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8.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9.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xml.rels><?xml version="1.0" encoding="UTF-8" standalone="yes"?>
<Relationships xmlns="http://schemas.openxmlformats.org/package/2006/relationships"><Relationship Id="rId8" Type="http://schemas.openxmlformats.org/officeDocument/2006/relationships/chart" Target="../charts/chart30.xml"/><Relationship Id="rId3" Type="http://schemas.openxmlformats.org/officeDocument/2006/relationships/oleObject" Target="../embeddings/oleObject27.bin"/><Relationship Id="rId7" Type="http://schemas.openxmlformats.org/officeDocument/2006/relationships/chart" Target="../charts/chart29.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1.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2.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4.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9.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1.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2.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3.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4.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1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5.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6.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7.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19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8.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1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9.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7.xml.rels><?xml version="1.0" encoding="UTF-8" standalone="yes"?>
<Relationships xmlns="http://schemas.openxmlformats.org/package/2006/relationships"><Relationship Id="rId8" Type="http://schemas.openxmlformats.org/officeDocument/2006/relationships/chart" Target="../charts/chart37.xml"/><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1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71.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1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72.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1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73.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2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74.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2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75.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202.xml"/><Relationship Id="rId6" Type="http://schemas.openxmlformats.org/officeDocument/2006/relationships/chart" Target="../charts/chart1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76.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203.xml"/><Relationship Id="rId6" Type="http://schemas.openxmlformats.org/officeDocument/2006/relationships/chart" Target="../charts/chart18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77.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204.xml"/><Relationship Id="rId6" Type="http://schemas.openxmlformats.org/officeDocument/2006/relationships/chart" Target="../charts/chart18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78.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205.xml"/><Relationship Id="rId6" Type="http://schemas.openxmlformats.org/officeDocument/2006/relationships/chart" Target="../charts/chart18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79.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206.xml"/><Relationship Id="rId6" Type="http://schemas.openxmlformats.org/officeDocument/2006/relationships/chart" Target="../charts/chart18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8.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oleObject" Target="../embeddings/oleObject27.bin"/><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39.xml"/><Relationship Id="rId5" Type="http://schemas.openxmlformats.org/officeDocument/2006/relationships/chart" Target="../charts/chart38.xml"/><Relationship Id="rId4" Type="http://schemas.openxmlformats.org/officeDocument/2006/relationships/image" Target="../media/image28.emf"/></Relationships>
</file>

<file path=ppt/slides/_rels/slide180.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207.xml"/><Relationship Id="rId6" Type="http://schemas.openxmlformats.org/officeDocument/2006/relationships/chart" Target="../charts/chart18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81.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208.xml"/><Relationship Id="rId6" Type="http://schemas.openxmlformats.org/officeDocument/2006/relationships/chart" Target="../charts/chart19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82.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209.xml"/><Relationship Id="rId6" Type="http://schemas.openxmlformats.org/officeDocument/2006/relationships/chart" Target="../charts/chart19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83.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210.xml"/><Relationship Id="rId6" Type="http://schemas.openxmlformats.org/officeDocument/2006/relationships/chart" Target="../charts/chart19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84.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211.xml"/><Relationship Id="rId6" Type="http://schemas.openxmlformats.org/officeDocument/2006/relationships/chart" Target="../charts/chart19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85.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212.xml"/><Relationship Id="rId6" Type="http://schemas.openxmlformats.org/officeDocument/2006/relationships/chart" Target="../charts/chart19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86.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213.xml"/><Relationship Id="rId6" Type="http://schemas.openxmlformats.org/officeDocument/2006/relationships/chart" Target="../charts/chart19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87.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214.xml"/><Relationship Id="rId6" Type="http://schemas.openxmlformats.org/officeDocument/2006/relationships/chart" Target="../charts/chart19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88.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215.xml"/><Relationship Id="rId6" Type="http://schemas.openxmlformats.org/officeDocument/2006/relationships/chart" Target="../charts/chart19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89.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216.xml"/><Relationship Id="rId6" Type="http://schemas.openxmlformats.org/officeDocument/2006/relationships/chart" Target="../charts/chart19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4.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43.xml"/><Relationship Id="rId5" Type="http://schemas.openxmlformats.org/officeDocument/2006/relationships/chart" Target="../charts/chart42.xml"/><Relationship Id="rId4" Type="http://schemas.openxmlformats.org/officeDocument/2006/relationships/image" Target="../media/image28.emf"/></Relationships>
</file>

<file path=ppt/slides/_rels/slide190.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217.xml"/><Relationship Id="rId6" Type="http://schemas.openxmlformats.org/officeDocument/2006/relationships/chart" Target="../charts/chart19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91.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218.xml"/><Relationship Id="rId6" Type="http://schemas.openxmlformats.org/officeDocument/2006/relationships/chart" Target="../charts/chart20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92.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219.xml"/><Relationship Id="rId6" Type="http://schemas.openxmlformats.org/officeDocument/2006/relationships/chart" Target="../charts/chart20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93.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220.xml"/><Relationship Id="rId6" Type="http://schemas.openxmlformats.org/officeDocument/2006/relationships/chart" Target="../charts/chart20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94.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221.xml"/><Relationship Id="rId6" Type="http://schemas.openxmlformats.org/officeDocument/2006/relationships/chart" Target="../charts/chart20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95.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222.xml"/><Relationship Id="rId6" Type="http://schemas.openxmlformats.org/officeDocument/2006/relationships/chart" Target="../charts/chart20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96.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223.xml"/><Relationship Id="rId6" Type="http://schemas.openxmlformats.org/officeDocument/2006/relationships/chart" Target="../charts/chart20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97.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224.xml"/><Relationship Id="rId6" Type="http://schemas.openxmlformats.org/officeDocument/2006/relationships/chart" Target="../charts/chart20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98.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225.xml"/><Relationship Id="rId6" Type="http://schemas.openxmlformats.org/officeDocument/2006/relationships/chart" Target="../charts/chart20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199.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226.xml"/><Relationship Id="rId6" Type="http://schemas.openxmlformats.org/officeDocument/2006/relationships/chart" Target="../charts/chart20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oleObject" Target="../embeddings/oleObject27.bin"/><Relationship Id="rId7" Type="http://schemas.openxmlformats.org/officeDocument/2006/relationships/chart" Target="../charts/chart47.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46.xml"/><Relationship Id="rId5" Type="http://schemas.openxmlformats.org/officeDocument/2006/relationships/chart" Target="../charts/chart45.xml"/><Relationship Id="rId4" Type="http://schemas.openxmlformats.org/officeDocument/2006/relationships/image" Target="../media/image28.emf"/></Relationships>
</file>

<file path=ppt/slides/_rels/slide200.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227.xml"/><Relationship Id="rId6" Type="http://schemas.openxmlformats.org/officeDocument/2006/relationships/chart" Target="../charts/chart20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201.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228.xml"/><Relationship Id="rId6" Type="http://schemas.openxmlformats.org/officeDocument/2006/relationships/chart" Target="../charts/chart21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202.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229.xml"/><Relationship Id="rId6" Type="http://schemas.openxmlformats.org/officeDocument/2006/relationships/chart" Target="../charts/chart21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203.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230.xml"/><Relationship Id="rId6" Type="http://schemas.openxmlformats.org/officeDocument/2006/relationships/chart" Target="../charts/chart21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204.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231.xml"/><Relationship Id="rId6" Type="http://schemas.openxmlformats.org/officeDocument/2006/relationships/chart" Target="../charts/chart21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205.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232.xml"/><Relationship Id="rId6" Type="http://schemas.openxmlformats.org/officeDocument/2006/relationships/chart" Target="../charts/chart21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206.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233.xml"/><Relationship Id="rId6" Type="http://schemas.openxmlformats.org/officeDocument/2006/relationships/chart" Target="../charts/chart21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207.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234.xml"/><Relationship Id="rId6" Type="http://schemas.openxmlformats.org/officeDocument/2006/relationships/chart" Target="../charts/chart21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208.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235.xml"/><Relationship Id="rId6" Type="http://schemas.openxmlformats.org/officeDocument/2006/relationships/chart" Target="../charts/chart21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209.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236.xml"/><Relationship Id="rId6" Type="http://schemas.openxmlformats.org/officeDocument/2006/relationships/chart" Target="../charts/chart21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210.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237.xml"/><Relationship Id="rId6" Type="http://schemas.openxmlformats.org/officeDocument/2006/relationships/chart" Target="../charts/chart21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211.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238.xml"/><Relationship Id="rId6" Type="http://schemas.openxmlformats.org/officeDocument/2006/relationships/chart" Target="../charts/chart22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212.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239.xml"/><Relationship Id="rId6" Type="http://schemas.openxmlformats.org/officeDocument/2006/relationships/chart" Target="../charts/chart22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213.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240.xml"/><Relationship Id="rId6" Type="http://schemas.openxmlformats.org/officeDocument/2006/relationships/chart" Target="../charts/chart22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214.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241.xml"/><Relationship Id="rId6" Type="http://schemas.openxmlformats.org/officeDocument/2006/relationships/chart" Target="../charts/chart22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215.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242.xml"/><Relationship Id="rId6" Type="http://schemas.openxmlformats.org/officeDocument/2006/relationships/chart" Target="../charts/chart22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216.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243.xml"/><Relationship Id="rId6" Type="http://schemas.openxmlformats.org/officeDocument/2006/relationships/chart" Target="../charts/chart22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217.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244.xml"/><Relationship Id="rId6" Type="http://schemas.openxmlformats.org/officeDocument/2006/relationships/chart" Target="../charts/chart22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218.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245.xml"/><Relationship Id="rId6" Type="http://schemas.openxmlformats.org/officeDocument/2006/relationships/chart" Target="../charts/chart22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219.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246.xml"/><Relationship Id="rId6" Type="http://schemas.openxmlformats.org/officeDocument/2006/relationships/chart" Target="../charts/chart22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22.xml.rels><?xml version="1.0" encoding="UTF-8" standalone="yes"?>
<Relationships xmlns="http://schemas.openxmlformats.org/package/2006/relationships"><Relationship Id="rId8" Type="http://schemas.openxmlformats.org/officeDocument/2006/relationships/chart" Target="../charts/chart54.xml"/><Relationship Id="rId3" Type="http://schemas.openxmlformats.org/officeDocument/2006/relationships/oleObject" Target="../embeddings/oleObject27.bin"/><Relationship Id="rId7" Type="http://schemas.openxmlformats.org/officeDocument/2006/relationships/chart" Target="../charts/chart53.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52.xml"/><Relationship Id="rId5" Type="http://schemas.openxmlformats.org/officeDocument/2006/relationships/chart" Target="../charts/chart51.xml"/><Relationship Id="rId4" Type="http://schemas.openxmlformats.org/officeDocument/2006/relationships/image" Target="../media/image28.emf"/></Relationships>
</file>

<file path=ppt/slides/_rels/slide220.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247.xml"/><Relationship Id="rId6" Type="http://schemas.openxmlformats.org/officeDocument/2006/relationships/chart" Target="../charts/chart22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221.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248.xml"/><Relationship Id="rId6" Type="http://schemas.openxmlformats.org/officeDocument/2006/relationships/chart" Target="../charts/chart23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222.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249.xml"/><Relationship Id="rId6" Type="http://schemas.openxmlformats.org/officeDocument/2006/relationships/chart" Target="../charts/chart23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223.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250.xml"/><Relationship Id="rId6" Type="http://schemas.openxmlformats.org/officeDocument/2006/relationships/chart" Target="../charts/chart23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224.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251.xml"/><Relationship Id="rId6" Type="http://schemas.openxmlformats.org/officeDocument/2006/relationships/chart" Target="../charts/chart23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23.xml.rels><?xml version="1.0" encoding="UTF-8" standalone="yes"?>
<Relationships xmlns="http://schemas.openxmlformats.org/package/2006/relationships"><Relationship Id="rId8" Type="http://schemas.openxmlformats.org/officeDocument/2006/relationships/chart" Target="../charts/chart58.xml"/><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1.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60.xml"/><Relationship Id="rId5" Type="http://schemas.openxmlformats.org/officeDocument/2006/relationships/chart" Target="../charts/chart59.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62.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63.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64.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65.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66.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67.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68.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69.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70.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71.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72.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73.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74.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75.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76.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77.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78.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79.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80.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81.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82.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83.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84.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85.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86.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87.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88.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89.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90.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91.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92.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93.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94.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95.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96.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97.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98.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99.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100.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101.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102.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103.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104.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105.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10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107.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108.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109.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110.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111.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112.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113.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114.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115.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116.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117.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118.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119.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120.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121.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122.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123.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124.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125.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126.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127.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128.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129.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130.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131.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132.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133.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134.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135.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136.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ational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323378755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 Car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9655357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Autos Scanning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76194159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scree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97548921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05067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7496266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Gel-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092695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7130917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583783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0380115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900414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6039290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501094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5337265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Seru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788088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7523363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468363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7324754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608590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3360583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Aceit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074437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6419189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85877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265386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ational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091583268"/>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09015551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2814593893"/>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826298653"/>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Aceite</a:t>
                      </a:r>
                    </a:p>
                  </a:txBody>
                  <a:tcPr anchor="ctr">
                    <a:solidFill>
                      <a:schemeClr val="bg2"/>
                    </a:solidFill>
                  </a:tcPr>
                </a:tc>
                <a:tc>
                  <a:txBody>
                    <a:bodyPr/>
                    <a:lstStyle/>
                    <a:p>
                      <a:pPr algn="ctr">
                        <a:defRPr sz="1100">
                          <a:latin typeface="Nexa Book"/>
                        </a:defRPr>
                      </a:pPr>
                      <a:r>
                        <a:rPr b="1">
                          <a:solidFill>
                            <a:srgbClr val="575555"/>
                          </a:solidFill>
                        </a:rPr>
                        <a:t>Sunscreen Crema</a:t>
                      </a:r>
                    </a:p>
                  </a:txBody>
                  <a:tcPr anchor="ctr">
                    <a:solidFill>
                      <a:schemeClr val="bg2"/>
                    </a:solidFill>
                  </a:tcPr>
                </a:tc>
                <a:tc>
                  <a:txBody>
                    <a:bodyPr/>
                    <a:lstStyle/>
                    <a:p>
                      <a:pPr algn="ctr">
                        <a:defRPr sz="1100">
                          <a:latin typeface="Nexa Book"/>
                        </a:defRPr>
                      </a:pPr>
                      <a:r>
                        <a:rPr b="1">
                          <a:solidFill>
                            <a:srgbClr val="575555"/>
                          </a:solidFill>
                        </a:rPr>
                        <a:t>Sunscreen Emulsion</a:t>
                      </a:r>
                    </a:p>
                  </a:txBody>
                  <a:tcPr anchor="ctr">
                    <a:solidFill>
                      <a:schemeClr val="bg2"/>
                    </a:solidFill>
                  </a:tcPr>
                </a:tc>
                <a:tc>
                  <a:txBody>
                    <a:bodyPr/>
                    <a:lstStyle/>
                    <a:p>
                      <a:pPr algn="ctr">
                        <a:defRPr sz="1100">
                          <a:latin typeface="Nexa Book"/>
                        </a:defRPr>
                      </a:pPr>
                      <a:r>
                        <a:rPr b="1">
                          <a:solidFill>
                            <a:srgbClr val="575555"/>
                          </a:solidFill>
                        </a:rPr>
                        <a:t>Sunscreen Fluido</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38889640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923577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5422822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458776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7358519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Gel-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020240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13323496"/>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477366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4151952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158986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827462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688792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8781592"/>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Seru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605202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6940710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866809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7222177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935551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0310090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Aceit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214044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615940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ational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38835067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764621346"/>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218960599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902570821"/>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Gel</a:t>
                      </a:r>
                    </a:p>
                  </a:txBody>
                  <a:tcPr anchor="ctr">
                    <a:solidFill>
                      <a:schemeClr val="bg2"/>
                    </a:solidFill>
                  </a:tcPr>
                </a:tc>
                <a:tc>
                  <a:txBody>
                    <a:bodyPr/>
                    <a:lstStyle/>
                    <a:p>
                      <a:pPr algn="ctr">
                        <a:defRPr sz="1100">
                          <a:latin typeface="Nexa Book"/>
                        </a:defRPr>
                      </a:pPr>
                      <a:r>
                        <a:rPr b="1">
                          <a:solidFill>
                            <a:srgbClr val="575555"/>
                          </a:solidFill>
                        </a:rPr>
                        <a:t>Sunscreen Gel-Crema</a:t>
                      </a:r>
                    </a:p>
                  </a:txBody>
                  <a:tcPr anchor="ctr">
                    <a:solidFill>
                      <a:schemeClr val="bg2"/>
                    </a:solidFill>
                  </a:tcPr>
                </a:tc>
                <a:tc>
                  <a:txBody>
                    <a:bodyPr/>
                    <a:lstStyle/>
                    <a:p>
                      <a:pPr algn="ctr">
                        <a:defRPr sz="1100">
                          <a:latin typeface="Nexa Book"/>
                        </a:defRPr>
                      </a:pPr>
                      <a:r>
                        <a:rPr b="1">
                          <a:solidFill>
                            <a:srgbClr val="575555"/>
                          </a:solidFill>
                        </a:rPr>
                        <a:t>Sunscreen Liquido</a:t>
                      </a:r>
                    </a:p>
                  </a:txBody>
                  <a:tcPr anchor="ctr">
                    <a:solidFill>
                      <a:schemeClr val="bg2"/>
                    </a:solidFill>
                  </a:tcPr>
                </a:tc>
                <a:tc>
                  <a:txBody>
                    <a:bodyPr/>
                    <a:lstStyle/>
                    <a:p>
                      <a:pPr algn="ctr">
                        <a:defRPr sz="1100">
                          <a:latin typeface="Nexa Book"/>
                        </a:defRPr>
                      </a:pPr>
                      <a:r>
                        <a:rPr b="1">
                          <a:solidFill>
                            <a:srgbClr val="575555"/>
                          </a:solidFill>
                        </a:rPr>
                        <a:t>Sunscreen Locio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96466518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355952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81289269"/>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321302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9615830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280164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7863614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Gel-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641735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4599151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2167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10541667"/>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95524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346104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538541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8495140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Seru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417097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29508517"/>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888141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80459153"/>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076298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709674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ational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14740954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214666005"/>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4269275889"/>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4152554731"/>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Roll-On</a:t>
                      </a:r>
                    </a:p>
                  </a:txBody>
                  <a:tcPr anchor="ctr">
                    <a:solidFill>
                      <a:schemeClr val="bg2"/>
                    </a:solidFill>
                  </a:tcPr>
                </a:tc>
                <a:tc>
                  <a:txBody>
                    <a:bodyPr/>
                    <a:lstStyle/>
                    <a:p>
                      <a:pPr algn="ctr">
                        <a:defRPr sz="1100">
                          <a:latin typeface="Nexa Book"/>
                        </a:defRPr>
                      </a:pPr>
                      <a:r>
                        <a:rPr b="1">
                          <a:solidFill>
                            <a:srgbClr val="575555"/>
                          </a:solidFill>
                        </a:rPr>
                        <a:t>Sunscreen Serum</a:t>
                      </a:r>
                    </a:p>
                  </a:txBody>
                  <a:tcPr anchor="ctr">
                    <a:solidFill>
                      <a:schemeClr val="bg2"/>
                    </a:solidFill>
                  </a:tcPr>
                </a:tc>
                <a:tc>
                  <a:txBody>
                    <a:bodyPr/>
                    <a:lstStyle/>
                    <a:p>
                      <a:pPr algn="ctr">
                        <a:defRPr sz="1100">
                          <a:latin typeface="Nexa Book"/>
                        </a:defRPr>
                      </a:pPr>
                      <a:r>
                        <a:rPr b="1">
                          <a:solidFill>
                            <a:srgbClr val="575555"/>
                          </a:solidFill>
                        </a:rPr>
                        <a:t>Sunscreen Spray</a:t>
                      </a:r>
                    </a:p>
                  </a:txBody>
                  <a:tcPr anchor="ctr">
                    <a:solidFill>
                      <a:schemeClr val="bg2"/>
                    </a:solidFill>
                  </a:tcPr>
                </a:tc>
                <a:tc>
                  <a:txBody>
                    <a:bodyPr/>
                    <a:lstStyle/>
                    <a:p>
                      <a:pPr algn="ctr">
                        <a:defRPr sz="1100">
                          <a:latin typeface="Nexa Book"/>
                        </a:defRPr>
                      </a:pPr>
                      <a:r>
                        <a:rPr b="1">
                          <a:solidFill>
                            <a:srgbClr val="575555"/>
                          </a:solidFill>
                        </a:rPr>
                        <a:t>Sunscreen Stick</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74876578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Tradicional | Sunscreen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134674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2340671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Tradicional | Sunscreen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827683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5344468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Tradicional | Sunscreen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781156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8582655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Tradicional | Sunscreen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108728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1017876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Tradicional | Sunscreen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521767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1047327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Tradicional | Sunscreen Seru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227184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54568409"/>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Aceit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493832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7928201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500022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69915859"/>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941343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63765832"/>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380154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887003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nal Moderno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233013349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1765520154"/>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3810229612"/>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861783914"/>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Aceite</a:t>
                      </a:r>
                    </a:p>
                  </a:txBody>
                  <a:tcPr anchor="ctr">
                    <a:solidFill>
                      <a:schemeClr val="bg2"/>
                    </a:solidFill>
                  </a:tcPr>
                </a:tc>
                <a:tc>
                  <a:txBody>
                    <a:bodyPr/>
                    <a:lstStyle/>
                    <a:p>
                      <a:pPr algn="ctr">
                        <a:defRPr sz="1100">
                          <a:latin typeface="Nexa Book"/>
                        </a:defRPr>
                      </a:pPr>
                      <a:r>
                        <a:rPr b="1">
                          <a:solidFill>
                            <a:srgbClr val="575555"/>
                          </a:solidFill>
                        </a:rPr>
                        <a:t>Sunscreen Crema</a:t>
                      </a:r>
                    </a:p>
                  </a:txBody>
                  <a:tcPr anchor="ctr">
                    <a:solidFill>
                      <a:schemeClr val="bg2"/>
                    </a:solidFill>
                  </a:tcPr>
                </a:tc>
                <a:tc>
                  <a:txBody>
                    <a:bodyPr/>
                    <a:lstStyle/>
                    <a:p>
                      <a:pPr algn="ctr">
                        <a:defRPr sz="1100">
                          <a:latin typeface="Nexa Book"/>
                        </a:defRPr>
                      </a:pPr>
                      <a:r>
                        <a:rPr b="1">
                          <a:solidFill>
                            <a:srgbClr val="575555"/>
                          </a:solidFill>
                        </a:rPr>
                        <a:t>Sunscreen Fluido</a:t>
                      </a:r>
                    </a:p>
                  </a:txBody>
                  <a:tcPr anchor="ctr">
                    <a:solidFill>
                      <a:schemeClr val="bg2"/>
                    </a:solidFill>
                  </a:tcPr>
                </a:tc>
                <a:tc>
                  <a:txBody>
                    <a:bodyPr/>
                    <a:lstStyle/>
                    <a:p>
                      <a:pPr algn="ctr">
                        <a:defRPr sz="1100">
                          <a:latin typeface="Nexa Book"/>
                        </a:defRPr>
                      </a:pPr>
                      <a:r>
                        <a:rPr b="1">
                          <a:solidFill>
                            <a:srgbClr val="575555"/>
                          </a:solidFill>
                        </a:rPr>
                        <a:t>Sunscreen Ge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42604655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Gel-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294115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9204215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702044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3880867"/>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347254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05755893"/>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623416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6074627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Seru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383248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1041069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900638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7586270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868689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3902356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8.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40.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4.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800354212"/>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Canal Modern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7.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99.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7.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9.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1758026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Convenience + Farmacias Cad + Hard Discounter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69.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98.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047280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nal Moderno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77789727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025490519"/>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2553736492"/>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077152980"/>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Gel-Crema</a:t>
                      </a:r>
                    </a:p>
                  </a:txBody>
                  <a:tcPr anchor="ctr">
                    <a:solidFill>
                      <a:schemeClr val="bg2"/>
                    </a:solidFill>
                  </a:tcPr>
                </a:tc>
                <a:tc>
                  <a:txBody>
                    <a:bodyPr/>
                    <a:lstStyle/>
                    <a:p>
                      <a:pPr algn="ctr">
                        <a:defRPr sz="1100">
                          <a:latin typeface="Nexa Book"/>
                        </a:defRPr>
                      </a:pPr>
                      <a:r>
                        <a:rPr b="1">
                          <a:solidFill>
                            <a:srgbClr val="575555"/>
                          </a:solidFill>
                        </a:rPr>
                        <a:t>Sunscreen Liquido</a:t>
                      </a:r>
                    </a:p>
                  </a:txBody>
                  <a:tcPr anchor="ctr">
                    <a:solidFill>
                      <a:schemeClr val="bg2"/>
                    </a:solidFill>
                  </a:tcPr>
                </a:tc>
                <a:tc>
                  <a:txBody>
                    <a:bodyPr/>
                    <a:lstStyle/>
                    <a:p>
                      <a:pPr algn="ctr">
                        <a:defRPr sz="1100">
                          <a:latin typeface="Nexa Book"/>
                        </a:defRPr>
                      </a:pPr>
                      <a:r>
                        <a:rPr b="1">
                          <a:solidFill>
                            <a:srgbClr val="575555"/>
                          </a:solidFill>
                        </a:rPr>
                        <a:t>Sunscreen Locion</a:t>
                      </a:r>
                    </a:p>
                  </a:txBody>
                  <a:tcPr anchor="ctr">
                    <a:solidFill>
                      <a:schemeClr val="bg2"/>
                    </a:solidFill>
                  </a:tcPr>
                </a:tc>
                <a:tc>
                  <a:txBody>
                    <a:bodyPr/>
                    <a:lstStyle/>
                    <a:p>
                      <a:pPr algn="ctr">
                        <a:defRPr sz="1100">
                          <a:latin typeface="Nexa Book"/>
                        </a:defRPr>
                      </a:pPr>
                      <a:r>
                        <a:rPr b="1">
                          <a:solidFill>
                            <a:srgbClr val="575555"/>
                          </a:solidFill>
                        </a:rPr>
                        <a:t>Sunscreen Roll-O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400284749"/>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Canal Tradic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8.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87.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9.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4.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80939928"/>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8.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6.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80.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63616011"/>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rema (4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58.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8.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45.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6.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0.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Liquido (2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0.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6.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 Par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7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Gel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8.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6.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6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8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8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Fluido (1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0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79.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4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8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Locion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3.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92.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Aceit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80.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77.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87777868"/>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tick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00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25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4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Gel-Crema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2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6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ray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5.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60.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40.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enov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4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erum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ar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Emulsi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0.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48271809"/>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Canal Modern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rema (4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1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9.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8.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7.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Liquido (2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0.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6.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 Par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2.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6.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Gel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9.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5.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87.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90.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50.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Fluido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29.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2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18.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64.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Locion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9.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0.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9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32.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78.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Aceit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78.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9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31473878"/>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Canal Modern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tick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589.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89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95.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Gel-Crema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77.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992.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ray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8.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09.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4.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7.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enov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3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erum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ar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4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3.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90679734"/>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Convenience + Farmacias Cad + Hard Discounter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rema (4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5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7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89.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8.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Fluido (1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18.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36.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79.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48.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Gel (1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0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17.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4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5.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38.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Liquido (1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9.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1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Aceite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88.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48.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9.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86.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tick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27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99.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30252836"/>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Convenience + Farmacias Cad + Hard Discounter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Locion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0.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82.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9.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09.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78.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Gel-Crema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4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2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ray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2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Genov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3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erum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ar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82.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65.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570523745"/>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Canal Tradic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rema (6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7.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9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7.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6.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Liquido (2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2.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4.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Gel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8.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4.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Locion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Fluido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14.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erum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ar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4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727773234"/>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rema (4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9.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9.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8.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Liquido (3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9.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 Par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87.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Gel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9.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75.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6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519.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Locion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3.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19.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5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44.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Fl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57.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96.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0.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0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Aceit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5.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0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38.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259355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nal Moderno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24026912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173131387"/>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72541906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unscreen Serum</a:t>
                      </a:r>
                    </a:p>
                  </a:txBody>
                  <a:tcPr anchor="ctr">
                    <a:solidFill>
                      <a:schemeClr val="bg2"/>
                    </a:solidFill>
                  </a:tcPr>
                </a:tc>
                <a:tc>
                  <a:txBody>
                    <a:bodyPr/>
                    <a:lstStyle/>
                    <a:p>
                      <a:pPr algn="ctr">
                        <a:defRPr sz="1100">
                          <a:latin typeface="Nexa Book"/>
                        </a:defRPr>
                      </a:pPr>
                      <a:r>
                        <a:rPr b="1">
                          <a:solidFill>
                            <a:srgbClr val="575555"/>
                          </a:solidFill>
                        </a:rPr>
                        <a:t>Sunscreen Spray</a:t>
                      </a:r>
                    </a:p>
                  </a:txBody>
                  <a:tcPr anchor="ctr">
                    <a:solidFill>
                      <a:schemeClr val="bg2"/>
                    </a:solidFill>
                  </a:tcPr>
                </a:tc>
                <a:tc>
                  <a:txBody>
                    <a:bodyPr/>
                    <a:lstStyle/>
                    <a:p>
                      <a:pPr algn="ctr">
                        <a:defRPr sz="1100">
                          <a:latin typeface="Nexa Book"/>
                        </a:defRPr>
                      </a:pPr>
                      <a:r>
                        <a:rPr b="1">
                          <a:solidFill>
                            <a:srgbClr val="575555"/>
                          </a:solidFill>
                        </a:rPr>
                        <a:t>Sunscreen Stick</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28471947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tick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148.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54.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ray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0.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5.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Ocean Po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7.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7.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erum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ar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88.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7.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Gel-Crema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9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68898088"/>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Sun Car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9.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7.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40.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1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5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660940988"/>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Sun Care | Canal Modern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2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4.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99.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69.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65.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14602333"/>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Sun Care | Convenience + Farmacias Cad + Hard Discounter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69.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8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6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56.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11766636"/>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Sun Care | Canal Tradic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4.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87.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ds.Lavin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453010229"/>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5.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80.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69.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30.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3467073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rema (4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58.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94.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4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Liquido (2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2.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8.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35.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5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al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5.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Gel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6.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8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f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8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76.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Fluido (1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0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79.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4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0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f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8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Locion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3.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Glaxosmithk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bs. Expanscie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92.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Aceit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07.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f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35709206"/>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tick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00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If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25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4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Gel-Crema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2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6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ray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5.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60.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40.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enove Lab.</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4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erum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Emulsi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0.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36592282"/>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Canal Modern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rema (4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3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1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8.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5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9.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Liquido (2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9.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14.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30.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al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Gel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9.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5.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9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f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50.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99.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Fluido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29.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2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18.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95.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f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64.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Locion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9.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0.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9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Glaxosmithk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32.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bs. Expanscie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78.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Aceit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96.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f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906756498"/>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Canal Modern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tick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589.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If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89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95.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Gel-Crema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77.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992.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ray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8.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09.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4.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7.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enove Lab.</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3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erum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4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3.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863127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onvenience + Farmacias Cad + Hard Discounters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98025914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1598861805"/>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385478379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965933480"/>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Aceite</a:t>
                      </a:r>
                    </a:p>
                  </a:txBody>
                  <a:tcPr anchor="ctr">
                    <a:solidFill>
                      <a:schemeClr val="bg2"/>
                    </a:solidFill>
                  </a:tcPr>
                </a:tc>
                <a:tc>
                  <a:txBody>
                    <a:bodyPr/>
                    <a:lstStyle/>
                    <a:p>
                      <a:pPr algn="ctr">
                        <a:defRPr sz="1100">
                          <a:latin typeface="Nexa Book"/>
                        </a:defRPr>
                      </a:pPr>
                      <a:r>
                        <a:rPr b="1">
                          <a:solidFill>
                            <a:srgbClr val="575555"/>
                          </a:solidFill>
                        </a:rPr>
                        <a:t>Sunscreen Crema</a:t>
                      </a:r>
                    </a:p>
                  </a:txBody>
                  <a:tcPr anchor="ctr">
                    <a:solidFill>
                      <a:schemeClr val="bg2"/>
                    </a:solidFill>
                  </a:tcPr>
                </a:tc>
                <a:tc>
                  <a:txBody>
                    <a:bodyPr/>
                    <a:lstStyle/>
                    <a:p>
                      <a:pPr algn="ctr">
                        <a:defRPr sz="1100">
                          <a:latin typeface="Nexa Book"/>
                        </a:defRPr>
                      </a:pPr>
                      <a:r>
                        <a:rPr b="1">
                          <a:solidFill>
                            <a:srgbClr val="575555"/>
                          </a:solidFill>
                        </a:rPr>
                        <a:t>Sunscreen Fluido</a:t>
                      </a:r>
                    </a:p>
                  </a:txBody>
                  <a:tcPr anchor="ctr">
                    <a:solidFill>
                      <a:schemeClr val="bg2"/>
                    </a:solidFill>
                  </a:tcPr>
                </a:tc>
                <a:tc>
                  <a:txBody>
                    <a:bodyPr/>
                    <a:lstStyle/>
                    <a:p>
                      <a:pPr algn="ctr">
                        <a:defRPr sz="1100">
                          <a:latin typeface="Nexa Book"/>
                        </a:defRPr>
                      </a:pPr>
                      <a:r>
                        <a:rPr b="1">
                          <a:solidFill>
                            <a:srgbClr val="575555"/>
                          </a:solidFill>
                        </a:rPr>
                        <a:t>Sunscreen Ge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409832650"/>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Convenience + Farmacias Cad + Hard Discounter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rema (4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5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09.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07.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7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4.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Fluido (1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18.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36.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79.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f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48.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66.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Gel (1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4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0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4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f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38.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8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Liquido (1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4.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65.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1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8.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Aceite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10.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48.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f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9.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5.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tick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27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f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99.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416102512"/>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Convenience + Farmacias Cad + Hard Discounter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Locion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0.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82.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Glaxosmithk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9.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09.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bs. Expanscie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78.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Gel-Crema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4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2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ray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2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Genove Lab.</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3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erum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82.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65.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36016456"/>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Canal Tradic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rema (6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7.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9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ds.Lavin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Liquido (2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6.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8.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Gel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8.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4.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Locion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Fluido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14.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erum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4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87411761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rema (4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29.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9.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9.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48.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Liquido (3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5.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1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Gel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8.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9.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67.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519.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al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39.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Locion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3.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un &amp; Skin Care Resear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19.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laxosmithk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5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Fl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57.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5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96.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0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58.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Aceit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5.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25.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57934168"/>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tick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148.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54.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ray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0.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5.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un &amp; Skin Care Resear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7.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7.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erum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88.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7.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Gel-Crema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9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37540957"/>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9890677"/>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Canal Modern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15331944"/>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Convenience + Farmacias Cad + Hard Discounter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30269374"/>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Canal Tradic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173599">
                  <a:extLst>
                    <a:ext uri="{9D8B030D-6E8A-4147-A177-3AD203B41FA5}">
                      <a16:colId xmlns:a16="http://schemas.microsoft.com/office/drawing/2014/main" val="2253286919"/>
                    </a:ext>
                  </a:extLst>
                </a:gridCol>
                <a:gridCol w="1173599">
                  <a:extLst>
                    <a:ext uri="{9D8B030D-6E8A-4147-A177-3AD203B41FA5}">
                      <a16:colId xmlns:a16="http://schemas.microsoft.com/office/drawing/2014/main" val="154020430"/>
                    </a:ext>
                  </a:extLst>
                </a:gridCol>
                <a:gridCol w="1173599">
                  <a:extLst>
                    <a:ext uri="{9D8B030D-6E8A-4147-A177-3AD203B41FA5}">
                      <a16:colId xmlns:a16="http://schemas.microsoft.com/office/drawing/2014/main" val="3928813835"/>
                    </a:ext>
                  </a:extLst>
                </a:gridCol>
                <a:gridCol w="1173599">
                  <a:extLst>
                    <a:ext uri="{9D8B030D-6E8A-4147-A177-3AD203B41FA5}">
                      <a16:colId xmlns:a16="http://schemas.microsoft.com/office/drawing/2014/main" val="4099274801"/>
                    </a:ext>
                  </a:extLst>
                </a:gridCol>
                <a:gridCol w="1173599">
                  <a:extLst>
                    <a:ext uri="{9D8B030D-6E8A-4147-A177-3AD203B41FA5}">
                      <a16:colId xmlns:a16="http://schemas.microsoft.com/office/drawing/2014/main" val="3203434082"/>
                    </a:ext>
                  </a:extLst>
                </a:gridCol>
                <a:gridCol w="1173599">
                  <a:extLst>
                    <a:ext uri="{9D8B030D-6E8A-4147-A177-3AD203B41FA5}">
                      <a16:colId xmlns:a16="http://schemas.microsoft.com/office/drawing/2014/main" val="130644446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173606">
                  <a:extLst>
                    <a:ext uri="{9D8B030D-6E8A-4147-A177-3AD203B41FA5}">
                      <a16:colId xmlns:a16="http://schemas.microsoft.com/office/drawing/2014/main" val="2253286919"/>
                    </a:ext>
                  </a:extLst>
                </a:gridCol>
                <a:gridCol w="1173606">
                  <a:extLst>
                    <a:ext uri="{9D8B030D-6E8A-4147-A177-3AD203B41FA5}">
                      <a16:colId xmlns:a16="http://schemas.microsoft.com/office/drawing/2014/main" val="154020430"/>
                    </a:ext>
                  </a:extLst>
                </a:gridCol>
                <a:gridCol w="1173606">
                  <a:extLst>
                    <a:ext uri="{9D8B030D-6E8A-4147-A177-3AD203B41FA5}">
                      <a16:colId xmlns:a16="http://schemas.microsoft.com/office/drawing/2014/main" val="3928813835"/>
                    </a:ext>
                  </a:extLst>
                </a:gridCol>
                <a:gridCol w="1173606">
                  <a:extLst>
                    <a:ext uri="{9D8B030D-6E8A-4147-A177-3AD203B41FA5}">
                      <a16:colId xmlns:a16="http://schemas.microsoft.com/office/drawing/2014/main" val="4099274801"/>
                    </a:ext>
                  </a:extLst>
                </a:gridCol>
                <a:gridCol w="1173606">
                  <a:extLst>
                    <a:ext uri="{9D8B030D-6E8A-4147-A177-3AD203B41FA5}">
                      <a16:colId xmlns:a16="http://schemas.microsoft.com/office/drawing/2014/main" val="3203434082"/>
                    </a:ext>
                  </a:extLst>
                </a:gridCol>
                <a:gridCol w="1173606">
                  <a:extLst>
                    <a:ext uri="{9D8B030D-6E8A-4147-A177-3AD203B41FA5}">
                      <a16:colId xmlns:a16="http://schemas.microsoft.com/office/drawing/2014/main" val="130644446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67272415"/>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173599">
                  <a:extLst>
                    <a:ext uri="{9D8B030D-6E8A-4147-A177-3AD203B41FA5}">
                      <a16:colId xmlns:a16="http://schemas.microsoft.com/office/drawing/2014/main" val="2253286919"/>
                    </a:ext>
                  </a:extLst>
                </a:gridCol>
                <a:gridCol w="1173599">
                  <a:extLst>
                    <a:ext uri="{9D8B030D-6E8A-4147-A177-3AD203B41FA5}">
                      <a16:colId xmlns:a16="http://schemas.microsoft.com/office/drawing/2014/main" val="154020430"/>
                    </a:ext>
                  </a:extLst>
                </a:gridCol>
                <a:gridCol w="1173599">
                  <a:extLst>
                    <a:ext uri="{9D8B030D-6E8A-4147-A177-3AD203B41FA5}">
                      <a16:colId xmlns:a16="http://schemas.microsoft.com/office/drawing/2014/main" val="3928813835"/>
                    </a:ext>
                  </a:extLst>
                </a:gridCol>
                <a:gridCol w="1173599">
                  <a:extLst>
                    <a:ext uri="{9D8B030D-6E8A-4147-A177-3AD203B41FA5}">
                      <a16:colId xmlns:a16="http://schemas.microsoft.com/office/drawing/2014/main" val="4099274801"/>
                    </a:ext>
                  </a:extLst>
                </a:gridCol>
                <a:gridCol w="1173599">
                  <a:extLst>
                    <a:ext uri="{9D8B030D-6E8A-4147-A177-3AD203B41FA5}">
                      <a16:colId xmlns:a16="http://schemas.microsoft.com/office/drawing/2014/main" val="3203434082"/>
                    </a:ext>
                  </a:extLst>
                </a:gridCol>
                <a:gridCol w="1173599">
                  <a:extLst>
                    <a:ext uri="{9D8B030D-6E8A-4147-A177-3AD203B41FA5}">
                      <a16:colId xmlns:a16="http://schemas.microsoft.com/office/drawing/2014/main" val="130644446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173606">
                  <a:extLst>
                    <a:ext uri="{9D8B030D-6E8A-4147-A177-3AD203B41FA5}">
                      <a16:colId xmlns:a16="http://schemas.microsoft.com/office/drawing/2014/main" val="2253286919"/>
                    </a:ext>
                  </a:extLst>
                </a:gridCol>
                <a:gridCol w="1173606">
                  <a:extLst>
                    <a:ext uri="{9D8B030D-6E8A-4147-A177-3AD203B41FA5}">
                      <a16:colId xmlns:a16="http://schemas.microsoft.com/office/drawing/2014/main" val="154020430"/>
                    </a:ext>
                  </a:extLst>
                </a:gridCol>
                <a:gridCol w="1173606">
                  <a:extLst>
                    <a:ext uri="{9D8B030D-6E8A-4147-A177-3AD203B41FA5}">
                      <a16:colId xmlns:a16="http://schemas.microsoft.com/office/drawing/2014/main" val="3928813835"/>
                    </a:ext>
                  </a:extLst>
                </a:gridCol>
                <a:gridCol w="1173606">
                  <a:extLst>
                    <a:ext uri="{9D8B030D-6E8A-4147-A177-3AD203B41FA5}">
                      <a16:colId xmlns:a16="http://schemas.microsoft.com/office/drawing/2014/main" val="4099274801"/>
                    </a:ext>
                  </a:extLst>
                </a:gridCol>
                <a:gridCol w="1173606">
                  <a:extLst>
                    <a:ext uri="{9D8B030D-6E8A-4147-A177-3AD203B41FA5}">
                      <a16:colId xmlns:a16="http://schemas.microsoft.com/office/drawing/2014/main" val="3203434082"/>
                    </a:ext>
                  </a:extLst>
                </a:gridCol>
                <a:gridCol w="1173606">
                  <a:extLst>
                    <a:ext uri="{9D8B030D-6E8A-4147-A177-3AD203B41FA5}">
                      <a16:colId xmlns:a16="http://schemas.microsoft.com/office/drawing/2014/main" val="130644446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375444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onvenience + Farmacias Cad + Hard Discounters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244051644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48882617"/>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1620521714"/>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749077625"/>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Gel-Crema</a:t>
                      </a:r>
                    </a:p>
                  </a:txBody>
                  <a:tcPr anchor="ctr">
                    <a:solidFill>
                      <a:schemeClr val="bg2"/>
                    </a:solidFill>
                  </a:tcPr>
                </a:tc>
                <a:tc>
                  <a:txBody>
                    <a:bodyPr/>
                    <a:lstStyle/>
                    <a:p>
                      <a:pPr algn="ctr">
                        <a:defRPr sz="1100">
                          <a:latin typeface="Nexa Book"/>
                        </a:defRPr>
                      </a:pPr>
                      <a:r>
                        <a:rPr b="1">
                          <a:solidFill>
                            <a:srgbClr val="575555"/>
                          </a:solidFill>
                        </a:rPr>
                        <a:t>Sunscreen Liquido</a:t>
                      </a:r>
                    </a:p>
                  </a:txBody>
                  <a:tcPr anchor="ctr">
                    <a:solidFill>
                      <a:schemeClr val="bg2"/>
                    </a:solidFill>
                  </a:tcPr>
                </a:tc>
                <a:tc>
                  <a:txBody>
                    <a:bodyPr/>
                    <a:lstStyle/>
                    <a:p>
                      <a:pPr algn="ctr">
                        <a:defRPr sz="1100">
                          <a:latin typeface="Nexa Book"/>
                        </a:defRPr>
                      </a:pPr>
                      <a:r>
                        <a:rPr b="1">
                          <a:solidFill>
                            <a:srgbClr val="575555"/>
                          </a:solidFill>
                        </a:rPr>
                        <a:t>Sunscreen Locion</a:t>
                      </a:r>
                    </a:p>
                  </a:txBody>
                  <a:tcPr anchor="ctr">
                    <a:solidFill>
                      <a:schemeClr val="bg2"/>
                    </a:solidFill>
                  </a:tcPr>
                </a:tc>
                <a:tc>
                  <a:txBody>
                    <a:bodyPr/>
                    <a:lstStyle/>
                    <a:p>
                      <a:pPr algn="ctr">
                        <a:defRPr sz="1100">
                          <a:latin typeface="Nexa Book"/>
                        </a:defRPr>
                      </a:pPr>
                      <a:r>
                        <a:rPr b="1">
                          <a:solidFill>
                            <a:srgbClr val="575555"/>
                          </a:solidFill>
                        </a:rPr>
                        <a:t>Sunscreen Roll-O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14496670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awaiian Tropic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58155628"/>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awaiian Tropic | Canal Modern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32043142"/>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awaiian Tropic | Convenience + Farmacias Cad + Hard Discounter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16838759"/>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awaiian Tropic | Canal Tradic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173599">
                  <a:extLst>
                    <a:ext uri="{9D8B030D-6E8A-4147-A177-3AD203B41FA5}">
                      <a16:colId xmlns:a16="http://schemas.microsoft.com/office/drawing/2014/main" val="2253286919"/>
                    </a:ext>
                  </a:extLst>
                </a:gridCol>
                <a:gridCol w="1173599">
                  <a:extLst>
                    <a:ext uri="{9D8B030D-6E8A-4147-A177-3AD203B41FA5}">
                      <a16:colId xmlns:a16="http://schemas.microsoft.com/office/drawing/2014/main" val="154020430"/>
                    </a:ext>
                  </a:extLst>
                </a:gridCol>
                <a:gridCol w="1173599">
                  <a:extLst>
                    <a:ext uri="{9D8B030D-6E8A-4147-A177-3AD203B41FA5}">
                      <a16:colId xmlns:a16="http://schemas.microsoft.com/office/drawing/2014/main" val="3928813835"/>
                    </a:ext>
                  </a:extLst>
                </a:gridCol>
                <a:gridCol w="1173599">
                  <a:extLst>
                    <a:ext uri="{9D8B030D-6E8A-4147-A177-3AD203B41FA5}">
                      <a16:colId xmlns:a16="http://schemas.microsoft.com/office/drawing/2014/main" val="4099274801"/>
                    </a:ext>
                  </a:extLst>
                </a:gridCol>
                <a:gridCol w="1173599">
                  <a:extLst>
                    <a:ext uri="{9D8B030D-6E8A-4147-A177-3AD203B41FA5}">
                      <a16:colId xmlns:a16="http://schemas.microsoft.com/office/drawing/2014/main" val="3203434082"/>
                    </a:ext>
                  </a:extLst>
                </a:gridCol>
                <a:gridCol w="1173599">
                  <a:extLst>
                    <a:ext uri="{9D8B030D-6E8A-4147-A177-3AD203B41FA5}">
                      <a16:colId xmlns:a16="http://schemas.microsoft.com/office/drawing/2014/main" val="130644446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173606">
                  <a:extLst>
                    <a:ext uri="{9D8B030D-6E8A-4147-A177-3AD203B41FA5}">
                      <a16:colId xmlns:a16="http://schemas.microsoft.com/office/drawing/2014/main" val="2253286919"/>
                    </a:ext>
                  </a:extLst>
                </a:gridCol>
                <a:gridCol w="1173606">
                  <a:extLst>
                    <a:ext uri="{9D8B030D-6E8A-4147-A177-3AD203B41FA5}">
                      <a16:colId xmlns:a16="http://schemas.microsoft.com/office/drawing/2014/main" val="154020430"/>
                    </a:ext>
                  </a:extLst>
                </a:gridCol>
                <a:gridCol w="1173606">
                  <a:extLst>
                    <a:ext uri="{9D8B030D-6E8A-4147-A177-3AD203B41FA5}">
                      <a16:colId xmlns:a16="http://schemas.microsoft.com/office/drawing/2014/main" val="3928813835"/>
                    </a:ext>
                  </a:extLst>
                </a:gridCol>
                <a:gridCol w="1173606">
                  <a:extLst>
                    <a:ext uri="{9D8B030D-6E8A-4147-A177-3AD203B41FA5}">
                      <a16:colId xmlns:a16="http://schemas.microsoft.com/office/drawing/2014/main" val="4099274801"/>
                    </a:ext>
                  </a:extLst>
                </a:gridCol>
                <a:gridCol w="1173606">
                  <a:extLst>
                    <a:ext uri="{9D8B030D-6E8A-4147-A177-3AD203B41FA5}">
                      <a16:colId xmlns:a16="http://schemas.microsoft.com/office/drawing/2014/main" val="3203434082"/>
                    </a:ext>
                  </a:extLst>
                </a:gridCol>
                <a:gridCol w="1173606">
                  <a:extLst>
                    <a:ext uri="{9D8B030D-6E8A-4147-A177-3AD203B41FA5}">
                      <a16:colId xmlns:a16="http://schemas.microsoft.com/office/drawing/2014/main" val="130644446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09440935"/>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awaiian Tropic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173599">
                  <a:extLst>
                    <a:ext uri="{9D8B030D-6E8A-4147-A177-3AD203B41FA5}">
                      <a16:colId xmlns:a16="http://schemas.microsoft.com/office/drawing/2014/main" val="2253286919"/>
                    </a:ext>
                  </a:extLst>
                </a:gridCol>
                <a:gridCol w="1173599">
                  <a:extLst>
                    <a:ext uri="{9D8B030D-6E8A-4147-A177-3AD203B41FA5}">
                      <a16:colId xmlns:a16="http://schemas.microsoft.com/office/drawing/2014/main" val="154020430"/>
                    </a:ext>
                  </a:extLst>
                </a:gridCol>
                <a:gridCol w="1173599">
                  <a:extLst>
                    <a:ext uri="{9D8B030D-6E8A-4147-A177-3AD203B41FA5}">
                      <a16:colId xmlns:a16="http://schemas.microsoft.com/office/drawing/2014/main" val="3928813835"/>
                    </a:ext>
                  </a:extLst>
                </a:gridCol>
                <a:gridCol w="1173599">
                  <a:extLst>
                    <a:ext uri="{9D8B030D-6E8A-4147-A177-3AD203B41FA5}">
                      <a16:colId xmlns:a16="http://schemas.microsoft.com/office/drawing/2014/main" val="4099274801"/>
                    </a:ext>
                  </a:extLst>
                </a:gridCol>
                <a:gridCol w="1173599">
                  <a:extLst>
                    <a:ext uri="{9D8B030D-6E8A-4147-A177-3AD203B41FA5}">
                      <a16:colId xmlns:a16="http://schemas.microsoft.com/office/drawing/2014/main" val="3203434082"/>
                    </a:ext>
                  </a:extLst>
                </a:gridCol>
                <a:gridCol w="1173599">
                  <a:extLst>
                    <a:ext uri="{9D8B030D-6E8A-4147-A177-3AD203B41FA5}">
                      <a16:colId xmlns:a16="http://schemas.microsoft.com/office/drawing/2014/main" val="130644446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173606">
                  <a:extLst>
                    <a:ext uri="{9D8B030D-6E8A-4147-A177-3AD203B41FA5}">
                      <a16:colId xmlns:a16="http://schemas.microsoft.com/office/drawing/2014/main" val="2253286919"/>
                    </a:ext>
                  </a:extLst>
                </a:gridCol>
                <a:gridCol w="1173606">
                  <a:extLst>
                    <a:ext uri="{9D8B030D-6E8A-4147-A177-3AD203B41FA5}">
                      <a16:colId xmlns:a16="http://schemas.microsoft.com/office/drawing/2014/main" val="154020430"/>
                    </a:ext>
                  </a:extLst>
                </a:gridCol>
                <a:gridCol w="1173606">
                  <a:extLst>
                    <a:ext uri="{9D8B030D-6E8A-4147-A177-3AD203B41FA5}">
                      <a16:colId xmlns:a16="http://schemas.microsoft.com/office/drawing/2014/main" val="3928813835"/>
                    </a:ext>
                  </a:extLst>
                </a:gridCol>
                <a:gridCol w="1173606">
                  <a:extLst>
                    <a:ext uri="{9D8B030D-6E8A-4147-A177-3AD203B41FA5}">
                      <a16:colId xmlns:a16="http://schemas.microsoft.com/office/drawing/2014/main" val="4099274801"/>
                    </a:ext>
                  </a:extLst>
                </a:gridCol>
                <a:gridCol w="1173606">
                  <a:extLst>
                    <a:ext uri="{9D8B030D-6E8A-4147-A177-3AD203B41FA5}">
                      <a16:colId xmlns:a16="http://schemas.microsoft.com/office/drawing/2014/main" val="3203434082"/>
                    </a:ext>
                  </a:extLst>
                </a:gridCol>
                <a:gridCol w="1173606">
                  <a:extLst>
                    <a:ext uri="{9D8B030D-6E8A-4147-A177-3AD203B41FA5}">
                      <a16:colId xmlns:a16="http://schemas.microsoft.com/office/drawing/2014/main" val="130644446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10916446"/>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anana Boat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46920174"/>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anana Boat | Canal Modern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14464416"/>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anana Boat | Convenience + Farmacias Cad + Hard Discounter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93833326"/>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anana Boat | Canal Tradic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173599">
                  <a:extLst>
                    <a:ext uri="{9D8B030D-6E8A-4147-A177-3AD203B41FA5}">
                      <a16:colId xmlns:a16="http://schemas.microsoft.com/office/drawing/2014/main" val="2253286919"/>
                    </a:ext>
                  </a:extLst>
                </a:gridCol>
                <a:gridCol w="1173599">
                  <a:extLst>
                    <a:ext uri="{9D8B030D-6E8A-4147-A177-3AD203B41FA5}">
                      <a16:colId xmlns:a16="http://schemas.microsoft.com/office/drawing/2014/main" val="154020430"/>
                    </a:ext>
                  </a:extLst>
                </a:gridCol>
                <a:gridCol w="1173599">
                  <a:extLst>
                    <a:ext uri="{9D8B030D-6E8A-4147-A177-3AD203B41FA5}">
                      <a16:colId xmlns:a16="http://schemas.microsoft.com/office/drawing/2014/main" val="3928813835"/>
                    </a:ext>
                  </a:extLst>
                </a:gridCol>
                <a:gridCol w="1173599">
                  <a:extLst>
                    <a:ext uri="{9D8B030D-6E8A-4147-A177-3AD203B41FA5}">
                      <a16:colId xmlns:a16="http://schemas.microsoft.com/office/drawing/2014/main" val="4099274801"/>
                    </a:ext>
                  </a:extLst>
                </a:gridCol>
                <a:gridCol w="1173599">
                  <a:extLst>
                    <a:ext uri="{9D8B030D-6E8A-4147-A177-3AD203B41FA5}">
                      <a16:colId xmlns:a16="http://schemas.microsoft.com/office/drawing/2014/main" val="3203434082"/>
                    </a:ext>
                  </a:extLst>
                </a:gridCol>
                <a:gridCol w="1173599">
                  <a:extLst>
                    <a:ext uri="{9D8B030D-6E8A-4147-A177-3AD203B41FA5}">
                      <a16:colId xmlns:a16="http://schemas.microsoft.com/office/drawing/2014/main" val="130644446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173606">
                  <a:extLst>
                    <a:ext uri="{9D8B030D-6E8A-4147-A177-3AD203B41FA5}">
                      <a16:colId xmlns:a16="http://schemas.microsoft.com/office/drawing/2014/main" val="2253286919"/>
                    </a:ext>
                  </a:extLst>
                </a:gridCol>
                <a:gridCol w="1173606">
                  <a:extLst>
                    <a:ext uri="{9D8B030D-6E8A-4147-A177-3AD203B41FA5}">
                      <a16:colId xmlns:a16="http://schemas.microsoft.com/office/drawing/2014/main" val="154020430"/>
                    </a:ext>
                  </a:extLst>
                </a:gridCol>
                <a:gridCol w="1173606">
                  <a:extLst>
                    <a:ext uri="{9D8B030D-6E8A-4147-A177-3AD203B41FA5}">
                      <a16:colId xmlns:a16="http://schemas.microsoft.com/office/drawing/2014/main" val="3928813835"/>
                    </a:ext>
                  </a:extLst>
                </a:gridCol>
                <a:gridCol w="1173606">
                  <a:extLst>
                    <a:ext uri="{9D8B030D-6E8A-4147-A177-3AD203B41FA5}">
                      <a16:colId xmlns:a16="http://schemas.microsoft.com/office/drawing/2014/main" val="4099274801"/>
                    </a:ext>
                  </a:extLst>
                </a:gridCol>
                <a:gridCol w="1173606">
                  <a:extLst>
                    <a:ext uri="{9D8B030D-6E8A-4147-A177-3AD203B41FA5}">
                      <a16:colId xmlns:a16="http://schemas.microsoft.com/office/drawing/2014/main" val="3203434082"/>
                    </a:ext>
                  </a:extLst>
                </a:gridCol>
                <a:gridCol w="1173606">
                  <a:extLst>
                    <a:ext uri="{9D8B030D-6E8A-4147-A177-3AD203B41FA5}">
                      <a16:colId xmlns:a16="http://schemas.microsoft.com/office/drawing/2014/main" val="130644446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70088637"/>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anana Boat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173599">
                  <a:extLst>
                    <a:ext uri="{9D8B030D-6E8A-4147-A177-3AD203B41FA5}">
                      <a16:colId xmlns:a16="http://schemas.microsoft.com/office/drawing/2014/main" val="2253286919"/>
                    </a:ext>
                  </a:extLst>
                </a:gridCol>
                <a:gridCol w="1173599">
                  <a:extLst>
                    <a:ext uri="{9D8B030D-6E8A-4147-A177-3AD203B41FA5}">
                      <a16:colId xmlns:a16="http://schemas.microsoft.com/office/drawing/2014/main" val="154020430"/>
                    </a:ext>
                  </a:extLst>
                </a:gridCol>
                <a:gridCol w="1173599">
                  <a:extLst>
                    <a:ext uri="{9D8B030D-6E8A-4147-A177-3AD203B41FA5}">
                      <a16:colId xmlns:a16="http://schemas.microsoft.com/office/drawing/2014/main" val="3928813835"/>
                    </a:ext>
                  </a:extLst>
                </a:gridCol>
                <a:gridCol w="1173599">
                  <a:extLst>
                    <a:ext uri="{9D8B030D-6E8A-4147-A177-3AD203B41FA5}">
                      <a16:colId xmlns:a16="http://schemas.microsoft.com/office/drawing/2014/main" val="4099274801"/>
                    </a:ext>
                  </a:extLst>
                </a:gridCol>
                <a:gridCol w="1173599">
                  <a:extLst>
                    <a:ext uri="{9D8B030D-6E8A-4147-A177-3AD203B41FA5}">
                      <a16:colId xmlns:a16="http://schemas.microsoft.com/office/drawing/2014/main" val="3203434082"/>
                    </a:ext>
                  </a:extLst>
                </a:gridCol>
                <a:gridCol w="1173599">
                  <a:extLst>
                    <a:ext uri="{9D8B030D-6E8A-4147-A177-3AD203B41FA5}">
                      <a16:colId xmlns:a16="http://schemas.microsoft.com/office/drawing/2014/main" val="130644446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173606">
                  <a:extLst>
                    <a:ext uri="{9D8B030D-6E8A-4147-A177-3AD203B41FA5}">
                      <a16:colId xmlns:a16="http://schemas.microsoft.com/office/drawing/2014/main" val="2253286919"/>
                    </a:ext>
                  </a:extLst>
                </a:gridCol>
                <a:gridCol w="1173606">
                  <a:extLst>
                    <a:ext uri="{9D8B030D-6E8A-4147-A177-3AD203B41FA5}">
                      <a16:colId xmlns:a16="http://schemas.microsoft.com/office/drawing/2014/main" val="154020430"/>
                    </a:ext>
                  </a:extLst>
                </a:gridCol>
                <a:gridCol w="1173606">
                  <a:extLst>
                    <a:ext uri="{9D8B030D-6E8A-4147-A177-3AD203B41FA5}">
                      <a16:colId xmlns:a16="http://schemas.microsoft.com/office/drawing/2014/main" val="3928813835"/>
                    </a:ext>
                  </a:extLst>
                </a:gridCol>
                <a:gridCol w="1173606">
                  <a:extLst>
                    <a:ext uri="{9D8B030D-6E8A-4147-A177-3AD203B41FA5}">
                      <a16:colId xmlns:a16="http://schemas.microsoft.com/office/drawing/2014/main" val="4099274801"/>
                    </a:ext>
                  </a:extLst>
                </a:gridCol>
                <a:gridCol w="1173606">
                  <a:extLst>
                    <a:ext uri="{9D8B030D-6E8A-4147-A177-3AD203B41FA5}">
                      <a16:colId xmlns:a16="http://schemas.microsoft.com/office/drawing/2014/main" val="3203434082"/>
                    </a:ext>
                  </a:extLst>
                </a:gridCol>
                <a:gridCol w="1173606">
                  <a:extLst>
                    <a:ext uri="{9D8B030D-6E8A-4147-A177-3AD203B41FA5}">
                      <a16:colId xmlns:a16="http://schemas.microsoft.com/office/drawing/2014/main" val="130644446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373171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onvenience + Farmacias Cad + Hard Discounters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1928692675"/>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4169929701"/>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971802155"/>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unscreen Serum</a:t>
                      </a:r>
                    </a:p>
                  </a:txBody>
                  <a:tcPr anchor="ctr">
                    <a:solidFill>
                      <a:schemeClr val="bg2"/>
                    </a:solidFill>
                  </a:tcPr>
                </a:tc>
                <a:tc>
                  <a:txBody>
                    <a:bodyPr/>
                    <a:lstStyle/>
                    <a:p>
                      <a:pPr algn="ctr">
                        <a:defRPr sz="1100">
                          <a:latin typeface="Nexa Book"/>
                        </a:defRPr>
                      </a:pPr>
                      <a:r>
                        <a:rPr b="1">
                          <a:solidFill>
                            <a:srgbClr val="575555"/>
                          </a:solidFill>
                        </a:rPr>
                        <a:t>Sunscreen Spray</a:t>
                      </a:r>
                    </a:p>
                  </a:txBody>
                  <a:tcPr anchor="ctr">
                    <a:solidFill>
                      <a:schemeClr val="bg2"/>
                    </a:solidFill>
                  </a:tcPr>
                </a:tc>
                <a:tc>
                  <a:txBody>
                    <a:bodyPr/>
                    <a:lstStyle/>
                    <a:p>
                      <a:pPr algn="ctr">
                        <a:defRPr sz="1100">
                          <a:latin typeface="Nexa Book"/>
                        </a:defRPr>
                      </a:pPr>
                      <a:r>
                        <a:rPr b="1">
                          <a:solidFill>
                            <a:srgbClr val="575555"/>
                          </a:solidFill>
                        </a:rPr>
                        <a:t>Sunscreen Stick</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263649684"/>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eauty Car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21358897"/>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eauty Care | Canal Modern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56982682"/>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eauty Care | Convenience + Farmacias Cad + Hard Discounter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07687834"/>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eauty Care | Canal Tradic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173599">
                  <a:extLst>
                    <a:ext uri="{9D8B030D-6E8A-4147-A177-3AD203B41FA5}">
                      <a16:colId xmlns:a16="http://schemas.microsoft.com/office/drawing/2014/main" val="2253286919"/>
                    </a:ext>
                  </a:extLst>
                </a:gridCol>
                <a:gridCol w="1173599">
                  <a:extLst>
                    <a:ext uri="{9D8B030D-6E8A-4147-A177-3AD203B41FA5}">
                      <a16:colId xmlns:a16="http://schemas.microsoft.com/office/drawing/2014/main" val="154020430"/>
                    </a:ext>
                  </a:extLst>
                </a:gridCol>
                <a:gridCol w="1173599">
                  <a:extLst>
                    <a:ext uri="{9D8B030D-6E8A-4147-A177-3AD203B41FA5}">
                      <a16:colId xmlns:a16="http://schemas.microsoft.com/office/drawing/2014/main" val="3928813835"/>
                    </a:ext>
                  </a:extLst>
                </a:gridCol>
                <a:gridCol w="1173599">
                  <a:extLst>
                    <a:ext uri="{9D8B030D-6E8A-4147-A177-3AD203B41FA5}">
                      <a16:colId xmlns:a16="http://schemas.microsoft.com/office/drawing/2014/main" val="4099274801"/>
                    </a:ext>
                  </a:extLst>
                </a:gridCol>
                <a:gridCol w="1173599">
                  <a:extLst>
                    <a:ext uri="{9D8B030D-6E8A-4147-A177-3AD203B41FA5}">
                      <a16:colId xmlns:a16="http://schemas.microsoft.com/office/drawing/2014/main" val="3203434082"/>
                    </a:ext>
                  </a:extLst>
                </a:gridCol>
                <a:gridCol w="1173599">
                  <a:extLst>
                    <a:ext uri="{9D8B030D-6E8A-4147-A177-3AD203B41FA5}">
                      <a16:colId xmlns:a16="http://schemas.microsoft.com/office/drawing/2014/main" val="130644446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173606">
                  <a:extLst>
                    <a:ext uri="{9D8B030D-6E8A-4147-A177-3AD203B41FA5}">
                      <a16:colId xmlns:a16="http://schemas.microsoft.com/office/drawing/2014/main" val="2253286919"/>
                    </a:ext>
                  </a:extLst>
                </a:gridCol>
                <a:gridCol w="1173606">
                  <a:extLst>
                    <a:ext uri="{9D8B030D-6E8A-4147-A177-3AD203B41FA5}">
                      <a16:colId xmlns:a16="http://schemas.microsoft.com/office/drawing/2014/main" val="154020430"/>
                    </a:ext>
                  </a:extLst>
                </a:gridCol>
                <a:gridCol w="1173606">
                  <a:extLst>
                    <a:ext uri="{9D8B030D-6E8A-4147-A177-3AD203B41FA5}">
                      <a16:colId xmlns:a16="http://schemas.microsoft.com/office/drawing/2014/main" val="3928813835"/>
                    </a:ext>
                  </a:extLst>
                </a:gridCol>
                <a:gridCol w="1173606">
                  <a:extLst>
                    <a:ext uri="{9D8B030D-6E8A-4147-A177-3AD203B41FA5}">
                      <a16:colId xmlns:a16="http://schemas.microsoft.com/office/drawing/2014/main" val="4099274801"/>
                    </a:ext>
                  </a:extLst>
                </a:gridCol>
                <a:gridCol w="1173606">
                  <a:extLst>
                    <a:ext uri="{9D8B030D-6E8A-4147-A177-3AD203B41FA5}">
                      <a16:colId xmlns:a16="http://schemas.microsoft.com/office/drawing/2014/main" val="3203434082"/>
                    </a:ext>
                  </a:extLst>
                </a:gridCol>
                <a:gridCol w="1173606">
                  <a:extLst>
                    <a:ext uri="{9D8B030D-6E8A-4147-A177-3AD203B41FA5}">
                      <a16:colId xmlns:a16="http://schemas.microsoft.com/office/drawing/2014/main" val="130644446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02748884"/>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eauty Care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173599">
                  <a:extLst>
                    <a:ext uri="{9D8B030D-6E8A-4147-A177-3AD203B41FA5}">
                      <a16:colId xmlns:a16="http://schemas.microsoft.com/office/drawing/2014/main" val="2253286919"/>
                    </a:ext>
                  </a:extLst>
                </a:gridCol>
                <a:gridCol w="1173599">
                  <a:extLst>
                    <a:ext uri="{9D8B030D-6E8A-4147-A177-3AD203B41FA5}">
                      <a16:colId xmlns:a16="http://schemas.microsoft.com/office/drawing/2014/main" val="154020430"/>
                    </a:ext>
                  </a:extLst>
                </a:gridCol>
                <a:gridCol w="1173599">
                  <a:extLst>
                    <a:ext uri="{9D8B030D-6E8A-4147-A177-3AD203B41FA5}">
                      <a16:colId xmlns:a16="http://schemas.microsoft.com/office/drawing/2014/main" val="3928813835"/>
                    </a:ext>
                  </a:extLst>
                </a:gridCol>
                <a:gridCol w="1173599">
                  <a:extLst>
                    <a:ext uri="{9D8B030D-6E8A-4147-A177-3AD203B41FA5}">
                      <a16:colId xmlns:a16="http://schemas.microsoft.com/office/drawing/2014/main" val="4099274801"/>
                    </a:ext>
                  </a:extLst>
                </a:gridCol>
                <a:gridCol w="1173599">
                  <a:extLst>
                    <a:ext uri="{9D8B030D-6E8A-4147-A177-3AD203B41FA5}">
                      <a16:colId xmlns:a16="http://schemas.microsoft.com/office/drawing/2014/main" val="3203434082"/>
                    </a:ext>
                  </a:extLst>
                </a:gridCol>
                <a:gridCol w="1173599">
                  <a:extLst>
                    <a:ext uri="{9D8B030D-6E8A-4147-A177-3AD203B41FA5}">
                      <a16:colId xmlns:a16="http://schemas.microsoft.com/office/drawing/2014/main" val="130644446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173606">
                  <a:extLst>
                    <a:ext uri="{9D8B030D-6E8A-4147-A177-3AD203B41FA5}">
                      <a16:colId xmlns:a16="http://schemas.microsoft.com/office/drawing/2014/main" val="2253286919"/>
                    </a:ext>
                  </a:extLst>
                </a:gridCol>
                <a:gridCol w="1173606">
                  <a:extLst>
                    <a:ext uri="{9D8B030D-6E8A-4147-A177-3AD203B41FA5}">
                      <a16:colId xmlns:a16="http://schemas.microsoft.com/office/drawing/2014/main" val="154020430"/>
                    </a:ext>
                  </a:extLst>
                </a:gridCol>
                <a:gridCol w="1173606">
                  <a:extLst>
                    <a:ext uri="{9D8B030D-6E8A-4147-A177-3AD203B41FA5}">
                      <a16:colId xmlns:a16="http://schemas.microsoft.com/office/drawing/2014/main" val="3928813835"/>
                    </a:ext>
                  </a:extLst>
                </a:gridCol>
                <a:gridCol w="1173606">
                  <a:extLst>
                    <a:ext uri="{9D8B030D-6E8A-4147-A177-3AD203B41FA5}">
                      <a16:colId xmlns:a16="http://schemas.microsoft.com/office/drawing/2014/main" val="4099274801"/>
                    </a:ext>
                  </a:extLst>
                </a:gridCol>
                <a:gridCol w="1173606">
                  <a:extLst>
                    <a:ext uri="{9D8B030D-6E8A-4147-A177-3AD203B41FA5}">
                      <a16:colId xmlns:a16="http://schemas.microsoft.com/office/drawing/2014/main" val="3203434082"/>
                    </a:ext>
                  </a:extLst>
                </a:gridCol>
                <a:gridCol w="1173606">
                  <a:extLst>
                    <a:ext uri="{9D8B030D-6E8A-4147-A177-3AD203B41FA5}">
                      <a16:colId xmlns:a16="http://schemas.microsoft.com/office/drawing/2014/main" val="130644446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89197645"/>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awaiian Tropic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28642387"/>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awaiian Tropic | Canal Modern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50008351"/>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awaiian Tropic | Convenience + Farmacias Cad + Hard Discounter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97526336"/>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awaiian Tropic | Canal Tradic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42953189"/>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awaiian Tropic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09023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Canal Moderno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45337132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 Car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9811270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nal Tradicional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207597471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495486711"/>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421539213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4111306987"/>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Crema</a:t>
                      </a:r>
                    </a:p>
                  </a:txBody>
                  <a:tcPr anchor="ctr">
                    <a:solidFill>
                      <a:schemeClr val="bg2"/>
                    </a:solidFill>
                  </a:tcPr>
                </a:tc>
                <a:tc>
                  <a:txBody>
                    <a:bodyPr/>
                    <a:lstStyle/>
                    <a:p>
                      <a:pPr algn="ctr">
                        <a:defRPr sz="1100">
                          <a:latin typeface="Nexa Book"/>
                        </a:defRPr>
                      </a:pPr>
                      <a:r>
                        <a:rPr b="1">
                          <a:solidFill>
                            <a:srgbClr val="575555"/>
                          </a:solidFill>
                        </a:rPr>
                        <a:t>Sunscreen Fluido</a:t>
                      </a:r>
                    </a:p>
                  </a:txBody>
                  <a:tcPr anchor="ctr">
                    <a:solidFill>
                      <a:schemeClr val="bg2"/>
                    </a:solidFill>
                  </a:tcPr>
                </a:tc>
                <a:tc>
                  <a:txBody>
                    <a:bodyPr/>
                    <a:lstStyle/>
                    <a:p>
                      <a:pPr algn="ctr">
                        <a:defRPr sz="1100">
                          <a:latin typeface="Nexa Book"/>
                        </a:defRPr>
                      </a:pPr>
                      <a:r>
                        <a:rPr b="1">
                          <a:solidFill>
                            <a:srgbClr val="575555"/>
                          </a:solidFill>
                        </a:rPr>
                        <a:t>Sunscreen Gel</a:t>
                      </a:r>
                    </a:p>
                  </a:txBody>
                  <a:tcPr anchor="ctr">
                    <a:solidFill>
                      <a:schemeClr val="bg2"/>
                    </a:solidFill>
                  </a:tcPr>
                </a:tc>
                <a:tc>
                  <a:txBody>
                    <a:bodyPr/>
                    <a:lstStyle/>
                    <a:p>
                      <a:pPr algn="ctr">
                        <a:defRPr sz="1100">
                          <a:latin typeface="Nexa Book"/>
                        </a:defRPr>
                      </a:pPr>
                      <a:r>
                        <a:rPr b="1">
                          <a:solidFill>
                            <a:srgbClr val="575555"/>
                          </a:solidFill>
                        </a:rPr>
                        <a:t>Sunscreen Liquido</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999416918"/>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anana Boat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14865300"/>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anana Boat | Canal Modern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52915009"/>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anana Boat | Convenience + Farmacias Cad + Hard Discounter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54941896"/>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anana Boat | Canal Tradic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98441536"/>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anana Boat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32682018"/>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eauty Car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93529027"/>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eauty Care | Canal Modern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21433551"/>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eauty Care | Convenience + Farmacias Cad + Hard Discounter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21559215"/>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eauty Care | Canal Tradic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82923717"/>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eauty Care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440524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nal Tradicional | P12M</a:t>
            </a:r>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extLst>
              <p:ext uri="{D42A27DB-BD31-4B8C-83A1-F6EECF244321}">
                <p14:modId xmlns:p14="http://schemas.microsoft.com/office/powerpoint/2010/main" val="225005075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extLst>
              <p:ext uri="{D42A27DB-BD31-4B8C-83A1-F6EECF244321}">
                <p14:modId xmlns:p14="http://schemas.microsoft.com/office/powerpoint/2010/main" val="2616054125"/>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defRPr sz="1100">
                          <a:latin typeface="Nexa Book"/>
                        </a:defRPr>
                      </a:pPr>
                      <a:r>
                        <a:rPr b="1">
                          <a:solidFill>
                            <a:srgbClr val="575555"/>
                          </a:solidFill>
                        </a:rPr>
                        <a:t>Sunscreen Locion</a:t>
                      </a:r>
                    </a:p>
                  </a:txBody>
                  <a:tcPr anchor="ctr">
                    <a:solidFill>
                      <a:schemeClr val="bg2"/>
                    </a:solidFill>
                  </a:tcPr>
                </a:tc>
                <a:tc>
                  <a:txBody>
                    <a:bodyPr/>
                    <a:lstStyle/>
                    <a:p>
                      <a:pPr algn="ctr">
                        <a:defRPr sz="1100">
                          <a:latin typeface="Nexa Book"/>
                        </a:defRPr>
                      </a:pPr>
                      <a:r>
                        <a:rPr b="1">
                          <a:solidFill>
                            <a:srgbClr val="575555"/>
                          </a:solidFill>
                        </a:rPr>
                        <a:t>Sunscreen Serum</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150101753"/>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awaiian Tropic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90269716"/>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awaiian Tropic | Canal Modern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6247940"/>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awaiian Tropic | Convenience + Farmacias Cad + Hard Discounter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71582652"/>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awaiian Tropic | Canal Tradic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23316955"/>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awaiian Tropic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22423922"/>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anana Boat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15132537"/>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anana Boat | Canal Modern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99653566"/>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anana Boat | Convenience + Farmacias Cad + Hard Discounter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97246208"/>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anana Boat | Canal Tradic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60589544"/>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anana Boat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35650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Autos Scanning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81542954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26340490"/>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608563300"/>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100092016"/>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Aceite</a:t>
                      </a:r>
                    </a:p>
                  </a:txBody>
                  <a:tcPr anchor="ctr">
                    <a:solidFill>
                      <a:schemeClr val="bg2"/>
                    </a:solidFill>
                  </a:tcPr>
                </a:tc>
                <a:tc>
                  <a:txBody>
                    <a:bodyPr/>
                    <a:lstStyle/>
                    <a:p>
                      <a:pPr algn="ctr">
                        <a:defRPr sz="1100">
                          <a:latin typeface="Nexa Book"/>
                        </a:defRPr>
                      </a:pPr>
                      <a:r>
                        <a:rPr b="1">
                          <a:solidFill>
                            <a:srgbClr val="575555"/>
                          </a:solidFill>
                        </a:rPr>
                        <a:t>Sunscreen Crema</a:t>
                      </a:r>
                    </a:p>
                  </a:txBody>
                  <a:tcPr anchor="ctr">
                    <a:solidFill>
                      <a:schemeClr val="bg2"/>
                    </a:solidFill>
                  </a:tcPr>
                </a:tc>
                <a:tc>
                  <a:txBody>
                    <a:bodyPr/>
                    <a:lstStyle/>
                    <a:p>
                      <a:pPr algn="ctr">
                        <a:defRPr sz="1100">
                          <a:latin typeface="Nexa Book"/>
                        </a:defRPr>
                      </a:pPr>
                      <a:r>
                        <a:rPr b="1">
                          <a:solidFill>
                            <a:srgbClr val="575555"/>
                          </a:solidFill>
                        </a:rPr>
                        <a:t>Sunscreen Fluido</a:t>
                      </a:r>
                    </a:p>
                  </a:txBody>
                  <a:tcPr anchor="ctr">
                    <a:solidFill>
                      <a:schemeClr val="bg2"/>
                    </a:solidFill>
                  </a:tcPr>
                </a:tc>
                <a:tc>
                  <a:txBody>
                    <a:bodyPr/>
                    <a:lstStyle/>
                    <a:p>
                      <a:pPr algn="ctr">
                        <a:defRPr sz="1100">
                          <a:latin typeface="Nexa Book"/>
                        </a:defRPr>
                      </a:pPr>
                      <a:r>
                        <a:rPr b="1">
                          <a:solidFill>
                            <a:srgbClr val="575555"/>
                          </a:solidFill>
                        </a:rPr>
                        <a:t>Sunscreen Ge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372332267"/>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eauty Car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94262546"/>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eauty Care | Canal Modern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58030744"/>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eauty Care | Convenience + Farmacias Cad + Hard Discounter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16763561"/>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eauty Care | Canal Tradic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2722401"/>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eauty Care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420635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Autos Scanning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2588265545"/>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394420441"/>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4016869225"/>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89328307"/>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Gel-Crema</a:t>
                      </a:r>
                    </a:p>
                  </a:txBody>
                  <a:tcPr anchor="ctr">
                    <a:solidFill>
                      <a:schemeClr val="bg2"/>
                    </a:solidFill>
                  </a:tcPr>
                </a:tc>
                <a:tc>
                  <a:txBody>
                    <a:bodyPr/>
                    <a:lstStyle/>
                    <a:p>
                      <a:pPr algn="ctr">
                        <a:defRPr sz="1100">
                          <a:latin typeface="Nexa Book"/>
                        </a:defRPr>
                      </a:pPr>
                      <a:r>
                        <a:rPr b="1">
                          <a:solidFill>
                            <a:srgbClr val="575555"/>
                          </a:solidFill>
                        </a:rPr>
                        <a:t>Sunscreen Liquido</a:t>
                      </a:r>
                    </a:p>
                  </a:txBody>
                  <a:tcPr anchor="ctr">
                    <a:solidFill>
                      <a:schemeClr val="bg2"/>
                    </a:solidFill>
                  </a:tcPr>
                </a:tc>
                <a:tc>
                  <a:txBody>
                    <a:bodyPr/>
                    <a:lstStyle/>
                    <a:p>
                      <a:pPr algn="ctr">
                        <a:defRPr sz="1100">
                          <a:latin typeface="Nexa Book"/>
                        </a:defRPr>
                      </a:pPr>
                      <a:r>
                        <a:rPr b="1">
                          <a:solidFill>
                            <a:srgbClr val="575555"/>
                          </a:solidFill>
                        </a:rPr>
                        <a:t>Sunscreen Locion</a:t>
                      </a:r>
                    </a:p>
                  </a:txBody>
                  <a:tcPr anchor="ctr">
                    <a:solidFill>
                      <a:schemeClr val="bg2"/>
                    </a:solidFill>
                  </a:tcPr>
                </a:tc>
                <a:tc>
                  <a:txBody>
                    <a:bodyPr/>
                    <a:lstStyle/>
                    <a:p>
                      <a:pPr algn="ctr">
                        <a:defRPr sz="1100">
                          <a:latin typeface="Nexa Book"/>
                        </a:defRPr>
                      </a:pPr>
                      <a:r>
                        <a:rPr b="1">
                          <a:solidFill>
                            <a:srgbClr val="575555"/>
                          </a:solidFill>
                        </a:rPr>
                        <a:t>Sunscreen Roll-O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9064012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Autos Scanning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1834972438"/>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1507288928"/>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1161586030"/>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unscreen Serum</a:t>
                      </a:r>
                    </a:p>
                  </a:txBody>
                  <a:tcPr anchor="ctr">
                    <a:solidFill>
                      <a:schemeClr val="bg2"/>
                    </a:solidFill>
                  </a:tcPr>
                </a:tc>
                <a:tc>
                  <a:txBody>
                    <a:bodyPr/>
                    <a:lstStyle/>
                    <a:p>
                      <a:pPr algn="ctr">
                        <a:defRPr sz="1100">
                          <a:latin typeface="Nexa Book"/>
                        </a:defRPr>
                      </a:pPr>
                      <a:r>
                        <a:rPr b="1">
                          <a:solidFill>
                            <a:srgbClr val="575555"/>
                          </a:solidFill>
                        </a:rPr>
                        <a:t>Sunscreen Spray</a:t>
                      </a:r>
                    </a:p>
                  </a:txBody>
                  <a:tcPr anchor="ctr">
                    <a:solidFill>
                      <a:schemeClr val="bg2"/>
                    </a:solidFill>
                  </a:tcPr>
                </a:tc>
                <a:tc>
                  <a:txBody>
                    <a:bodyPr/>
                    <a:lstStyle/>
                    <a:p>
                      <a:pPr algn="ctr">
                        <a:defRPr sz="1100">
                          <a:latin typeface="Nexa Book"/>
                        </a:defRPr>
                      </a:pPr>
                      <a:r>
                        <a:rPr b="1">
                          <a:solidFill>
                            <a:srgbClr val="575555"/>
                          </a:solidFill>
                        </a:rPr>
                        <a:t>Sunscreen Stick</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4388968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515705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5474059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Canal Modern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019391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837887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Convenience + Farmacias Cad + Hard Discounte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660821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069230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Canal Tradic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503456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593010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Autos Sc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977269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663935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Convenience + Farmacias Cad + Hard Discounters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77432756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 Car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15791993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853983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353817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686111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6244776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301588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034912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513162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8204818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029566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865218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Aceit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262393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278329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913096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301694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Emuls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470673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7905582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197476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8834320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64645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372413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Canal Tradicional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165606123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 Car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6510611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Gel-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430834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1397522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132432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5287129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709512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379792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408084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6622822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Seru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556798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159000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601033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4039946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89276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500699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Aceit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319921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1729184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724463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5766135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694886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780842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Autos Scanning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1062388985"/>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 Car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11906374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518309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6103055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Gel-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252324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331477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023800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6192795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446246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192376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476538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3296261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Seru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394384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2185098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44642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1634246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11027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0853588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Aceit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590239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8728318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308878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751915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ational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74817777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scree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68949338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859417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9862741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550801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3159341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Gel-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449082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4868869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446501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9653137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610027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9016492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834583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0778259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Seru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20682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6483846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995903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5323461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08417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7969787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709917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758983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Canal Moderno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172573040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scree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04697065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11654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486021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657452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9425070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036447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1090896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832071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9909222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Seru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846015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8684932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Aceit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879528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3686115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974635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7577398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070272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0358535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180823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7824531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Gel-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049921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283628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Convenience + Farmacias Cad + Hard Discounters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77277591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scree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09274699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979668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8228029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896143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5824399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269534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5215835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Seru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157113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3694993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346297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5202754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443964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9803475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un Car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174538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2710482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un Care | Canal Modern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984098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7255358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un Care | Convenience + Farmacias Cad + Hard Discounte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396555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1926169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un Care | Canal Tradic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170424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940023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Canal Tradicional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360787681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scree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21424674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un Care | Autos Sc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006426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1155206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602568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2429514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822176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8640207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519996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4777694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Tradicional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826708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8532359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611666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4655651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Aceit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411696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6052644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029410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6140984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Emuls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479927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4283814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921978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529755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5</TotalTime>
  <Words>22859</Words>
  <Application>Microsoft Office PowerPoint</Application>
  <PresentationFormat>On-screen Show (16:9)</PresentationFormat>
  <Paragraphs>6702</Paragraphs>
  <Slides>224</Slides>
  <Notes>7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24</vt:i4>
      </vt:variant>
    </vt:vector>
  </HeadingPairs>
  <TitlesOfParts>
    <vt:vector size="234"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1</cp:revision>
  <dcterms:created xsi:type="dcterms:W3CDTF">2024-07-05T14:56:51Z</dcterms:created>
  <dcterms:modified xsi:type="dcterms:W3CDTF">2025-07-01T13:15: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